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media/image122.jpg" ContentType="image/jpg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31"/>
  </p:notesMasterIdLst>
  <p:sldIdLst>
    <p:sldId id="256" r:id="rId2"/>
    <p:sldId id="371" r:id="rId3"/>
    <p:sldId id="370" r:id="rId4"/>
    <p:sldId id="372" r:id="rId5"/>
    <p:sldId id="373" r:id="rId6"/>
    <p:sldId id="374" r:id="rId7"/>
    <p:sldId id="375" r:id="rId8"/>
    <p:sldId id="343" r:id="rId9"/>
    <p:sldId id="344" r:id="rId10"/>
    <p:sldId id="345" r:id="rId11"/>
    <p:sldId id="2147377990" r:id="rId12"/>
    <p:sldId id="2147377991" r:id="rId13"/>
    <p:sldId id="346" r:id="rId14"/>
    <p:sldId id="325" r:id="rId15"/>
    <p:sldId id="2147377992" r:id="rId16"/>
    <p:sldId id="326" r:id="rId17"/>
    <p:sldId id="341" r:id="rId18"/>
    <p:sldId id="334" r:id="rId19"/>
    <p:sldId id="335" r:id="rId20"/>
    <p:sldId id="338" r:id="rId21"/>
    <p:sldId id="329" r:id="rId22"/>
    <p:sldId id="332" r:id="rId23"/>
    <p:sldId id="333" r:id="rId24"/>
    <p:sldId id="324" r:id="rId25"/>
    <p:sldId id="336" r:id="rId26"/>
    <p:sldId id="337" r:id="rId27"/>
    <p:sldId id="348" r:id="rId28"/>
    <p:sldId id="340" r:id="rId29"/>
    <p:sldId id="296" r:id="rId30"/>
  </p:sldIdLst>
  <p:sldSz cx="10058400" cy="7772400"/>
  <p:notesSz cx="10058400" cy="7772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63" d="100"/>
          <a:sy n="63" d="100"/>
        </p:scale>
        <p:origin x="2172" y="904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270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59275" cy="3889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97538" y="0"/>
            <a:ext cx="4359275" cy="3889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90478D-2B82-499F-94B9-5CA5EA8043CD}" type="datetimeFigureOut">
              <a:rPr lang="en-US" smtClean="0"/>
              <a:t>7/1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332163" y="971550"/>
            <a:ext cx="3394075" cy="26225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006475" y="3740150"/>
            <a:ext cx="8045450" cy="30607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7383463"/>
            <a:ext cx="4359275" cy="3889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97538" y="7383463"/>
            <a:ext cx="4359275" cy="3889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D50A8C-772A-444D-B79F-A6B2D17EDB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72335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09675" y="685800"/>
            <a:ext cx="443865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ectonic shifts are taking place in the world of work. For many years we have heard about skills gaps and the disconnect between employers and higher education / further education and training organizations. Now automation is impacting work at scale, accelerating change, driving skills shifts and requiring agile organizations to adopt skills-based strategies to remain competitive and to grow productivity. </a:t>
            </a:r>
          </a:p>
          <a:p>
            <a:endParaRPr lang="en-US"/>
          </a:p>
          <a:p>
            <a:pPr algn="ctr"/>
            <a:r>
              <a:rPr lang="en-GB" sz="1200" b="1">
                <a:latin typeface="Quire Sans Pro Light"/>
                <a:ea typeface="Open Sans Light"/>
                <a:cs typeface="Calibri"/>
              </a:rPr>
              <a:t>New technologies change in-demand skills</a:t>
            </a:r>
            <a:r>
              <a:rPr lang="en-GB" sz="1200">
                <a:latin typeface="Quire Sans Pro Light"/>
                <a:ea typeface="Open Sans Light"/>
                <a:cs typeface="Calibri"/>
              </a:rPr>
              <a:t>.</a:t>
            </a:r>
            <a:br>
              <a:rPr lang="en-GB" sz="1200">
                <a:latin typeface="Quire Sans Pro Light"/>
                <a:ea typeface="Open Sans Light"/>
                <a:cs typeface="Calibri"/>
              </a:rPr>
            </a:br>
            <a:endParaRPr lang="en-US" sz="1200">
              <a:latin typeface="Quire Sans Pro Light"/>
              <a:ea typeface="Open Sans Light"/>
              <a:cs typeface="Open Sans Light"/>
            </a:endParaRPr>
          </a:p>
          <a:p>
            <a:pPr algn="ctr"/>
            <a:r>
              <a:rPr lang="en-GB" sz="1200">
                <a:latin typeface="Quire Sans Pro Light"/>
                <a:ea typeface="Open Sans Light"/>
                <a:cs typeface="Calibri"/>
              </a:rPr>
              <a:t>The half-life of technical skills is shortening. </a:t>
            </a:r>
            <a:endParaRPr lang="en-US" sz="1200">
              <a:latin typeface="Quire Sans Pro Light"/>
              <a:ea typeface="Open Sans Light"/>
              <a:cs typeface="Open Sans Light"/>
            </a:endParaRPr>
          </a:p>
          <a:p>
            <a:pPr algn="ctr"/>
            <a:endParaRPr lang="en-GB" sz="1200">
              <a:latin typeface="Quire Sans Pro Light"/>
              <a:ea typeface="Open Sans Light"/>
              <a:cs typeface="Calibri"/>
            </a:endParaRPr>
          </a:p>
          <a:p>
            <a:pPr algn="ctr"/>
            <a:r>
              <a:rPr lang="en-GB" sz="1200">
                <a:latin typeface="Quire Sans Pro Light"/>
                <a:ea typeface="Open Sans Light"/>
                <a:cs typeface="Calibri"/>
              </a:rPr>
              <a:t>Robot-proof human skills will persist and differentiate.</a:t>
            </a:r>
            <a:endParaRPr lang="en-GB" sz="1200"/>
          </a:p>
          <a:p>
            <a:pPr algn="ctr"/>
            <a:r>
              <a:rPr lang="en-GB" sz="1200" b="1">
                <a:latin typeface="Quire Sans Pro Light"/>
                <a:ea typeface="Open Sans Light"/>
                <a:cs typeface="Open Sans Light"/>
              </a:rPr>
              <a:t>1bn jobs will be transformed</a:t>
            </a:r>
            <a:r>
              <a:rPr lang="en-GB" sz="1200">
                <a:latin typeface="Quire Sans Pro Light"/>
                <a:ea typeface="Open Sans Light"/>
                <a:cs typeface="Open Sans Light"/>
              </a:rPr>
              <a:t> by technology in the next decade </a:t>
            </a:r>
            <a:endParaRPr lang="en-US" sz="1200">
              <a:cs typeface="Calibri"/>
            </a:endParaRPr>
          </a:p>
          <a:p>
            <a:pPr algn="ctr"/>
            <a:endParaRPr lang="en-GB" sz="1200">
              <a:latin typeface="Quire Sans Pro Light"/>
              <a:ea typeface="Open Sans Light"/>
              <a:cs typeface="Open Sans Light"/>
            </a:endParaRPr>
          </a:p>
          <a:p>
            <a:pPr algn="ctr"/>
            <a:r>
              <a:rPr lang="en-GB" sz="1200">
                <a:latin typeface="Quire Sans Pro Light"/>
                <a:ea typeface="Open Sans Light"/>
                <a:cs typeface="Open Sans Light"/>
              </a:rPr>
              <a:t>68m jobs are </a:t>
            </a:r>
            <a:br>
              <a:rPr lang="en-GB" sz="1200">
                <a:latin typeface="Quire Sans Pro Light"/>
                <a:ea typeface="Open Sans Light"/>
                <a:cs typeface="Open Sans Light"/>
              </a:rPr>
            </a:br>
            <a:r>
              <a:rPr lang="en-GB" sz="1200">
                <a:latin typeface="Quire Sans Pro Light"/>
                <a:ea typeface="Open Sans Light"/>
                <a:cs typeface="Open Sans Light"/>
              </a:rPr>
              <a:t>"algo-threatened"</a:t>
            </a:r>
            <a:r>
              <a:rPr lang="en-GB" sz="1200" b="1">
                <a:latin typeface="Quire Sans Pro Light"/>
                <a:ea typeface="Open Sans Light"/>
                <a:cs typeface="Open Sans Light"/>
              </a:rPr>
              <a:t> </a:t>
            </a:r>
            <a:r>
              <a:rPr lang="en-GB" sz="1200">
                <a:latin typeface="Quire Sans Pro Light"/>
                <a:ea typeface="Open Sans Light"/>
                <a:cs typeface="Open Sans Light"/>
              </a:rPr>
              <a:t>in the top 500 companies.</a:t>
            </a:r>
            <a:endParaRPr lang="en-GB" sz="1200"/>
          </a:p>
          <a:p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A5106B-ABBE-44E7-935D-20389809B56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47002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7" name="Google Shape;797;g155c23fd57e_0_25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209675" y="685800"/>
            <a:ext cx="443865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98" name="Google Shape;798;g155c23fd57e_0_25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3" name="Google Shape;473;g1132b6eac12_0_2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209675" y="685800"/>
            <a:ext cx="443865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74" name="Google Shape;474;g1132b6eac12_0_2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2" name="Google Shape;482;g155c23fd57e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209675" y="685800"/>
            <a:ext cx="443865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83" name="Google Shape;483;g155c23fd57e_0_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700">
              <a:latin typeface="Proxima Nova"/>
              <a:ea typeface="Proxima Nova"/>
              <a:cs typeface="Proxima Nova"/>
              <a:sym typeface="Proxima Nova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5" name="Google Shape;555;g1157840ade9_0_78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209675" y="685800"/>
            <a:ext cx="443865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56" name="Google Shape;556;g1157840ade9_0_78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2" name="Google Shape;452;g1157840ade9_0_2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209675" y="685800"/>
            <a:ext cx="443865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53" name="Google Shape;453;g1157840ade9_0_2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1"/>
              </a:solidFill>
            </a:endParaRPr>
          </a:p>
          <a:p>
            <a:pPr marL="0" lvl="0" indent="0" algn="l" rtl="0"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600">
              <a:solidFill>
                <a:srgbClr val="595959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0" lvl="0" indent="0" algn="l" rtl="0">
              <a:spcBef>
                <a:spcPts val="1000"/>
              </a:spcBef>
              <a:spcAft>
                <a:spcPts val="100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600">
                <a:solidFill>
                  <a:srgbClr val="595959"/>
                </a:solidFill>
                <a:latin typeface="Proxima Nova"/>
                <a:ea typeface="Proxima Nova"/>
                <a:cs typeface="Proxima Nova"/>
                <a:sym typeface="Proxima Nova"/>
              </a:rPr>
              <a:t>Create a culture of recognition and learning with our digital credential issuing capabilities, and leverage our unique workforce insights to optimize L&amp;D initiatives, engage employees, and surface internal opportunities for talent.  </a:t>
            </a: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09675" y="685800"/>
            <a:ext cx="443865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ectonic shifts are taking place in the world of work. For many years we have heard about skills gaps and the disconnect between employers and higher education / further education and training organizations. Now automation is impacting work at scale, accelerating change, driving skills shifts and requiring agile organizations to adopt skills-based strategies to remain competitive and to grow productivity. </a:t>
            </a:r>
          </a:p>
          <a:p>
            <a:endParaRPr lang="en-US"/>
          </a:p>
          <a:p>
            <a:pPr algn="ctr"/>
            <a:r>
              <a:rPr lang="en-GB" sz="1200" b="1">
                <a:latin typeface="Quire Sans Pro Light"/>
                <a:ea typeface="Open Sans Light"/>
                <a:cs typeface="Calibri"/>
              </a:rPr>
              <a:t>New technologies change in-demand skills</a:t>
            </a:r>
            <a:r>
              <a:rPr lang="en-GB" sz="1200">
                <a:latin typeface="Quire Sans Pro Light"/>
                <a:ea typeface="Open Sans Light"/>
                <a:cs typeface="Calibri"/>
              </a:rPr>
              <a:t>.</a:t>
            </a:r>
            <a:br>
              <a:rPr lang="en-GB" sz="1200">
                <a:latin typeface="Quire Sans Pro Light"/>
                <a:ea typeface="Open Sans Light"/>
                <a:cs typeface="Calibri"/>
              </a:rPr>
            </a:br>
            <a:endParaRPr lang="en-US" sz="1200">
              <a:latin typeface="Quire Sans Pro Light"/>
              <a:ea typeface="Open Sans Light"/>
              <a:cs typeface="Open Sans Light"/>
            </a:endParaRPr>
          </a:p>
          <a:p>
            <a:pPr algn="ctr"/>
            <a:r>
              <a:rPr lang="en-GB" sz="1200">
                <a:latin typeface="Quire Sans Pro Light"/>
                <a:ea typeface="Open Sans Light"/>
                <a:cs typeface="Calibri"/>
              </a:rPr>
              <a:t>The half-life of technical skills is shortening. </a:t>
            </a:r>
            <a:endParaRPr lang="en-US" sz="1200">
              <a:latin typeface="Quire Sans Pro Light"/>
              <a:ea typeface="Open Sans Light"/>
              <a:cs typeface="Open Sans Light"/>
            </a:endParaRPr>
          </a:p>
          <a:p>
            <a:pPr algn="ctr"/>
            <a:endParaRPr lang="en-GB" sz="1200">
              <a:latin typeface="Quire Sans Pro Light"/>
              <a:ea typeface="Open Sans Light"/>
              <a:cs typeface="Calibri"/>
            </a:endParaRPr>
          </a:p>
          <a:p>
            <a:pPr algn="ctr"/>
            <a:r>
              <a:rPr lang="en-GB" sz="1200">
                <a:latin typeface="Quire Sans Pro Light"/>
                <a:ea typeface="Open Sans Light"/>
                <a:cs typeface="Calibri"/>
              </a:rPr>
              <a:t>Robot-proof human skills will persist and differentiate.</a:t>
            </a:r>
            <a:endParaRPr lang="en-GB" sz="1200"/>
          </a:p>
          <a:p>
            <a:pPr algn="ctr"/>
            <a:r>
              <a:rPr lang="en-GB" sz="1200" b="1">
                <a:latin typeface="Quire Sans Pro Light"/>
                <a:ea typeface="Open Sans Light"/>
                <a:cs typeface="Open Sans Light"/>
              </a:rPr>
              <a:t>1bn jobs will be transformed</a:t>
            </a:r>
            <a:r>
              <a:rPr lang="en-GB" sz="1200">
                <a:latin typeface="Quire Sans Pro Light"/>
                <a:ea typeface="Open Sans Light"/>
                <a:cs typeface="Open Sans Light"/>
              </a:rPr>
              <a:t> by technology in the next decade </a:t>
            </a:r>
            <a:endParaRPr lang="en-US" sz="1200">
              <a:cs typeface="Calibri"/>
            </a:endParaRPr>
          </a:p>
          <a:p>
            <a:pPr algn="ctr"/>
            <a:endParaRPr lang="en-GB" sz="1200">
              <a:latin typeface="Quire Sans Pro Light"/>
              <a:ea typeface="Open Sans Light"/>
              <a:cs typeface="Open Sans Light"/>
            </a:endParaRPr>
          </a:p>
          <a:p>
            <a:pPr algn="ctr"/>
            <a:r>
              <a:rPr lang="en-GB" sz="1200">
                <a:latin typeface="Quire Sans Pro Light"/>
                <a:ea typeface="Open Sans Light"/>
                <a:cs typeface="Open Sans Light"/>
              </a:rPr>
              <a:t>68m jobs are </a:t>
            </a:r>
            <a:br>
              <a:rPr lang="en-GB" sz="1200">
                <a:latin typeface="Quire Sans Pro Light"/>
                <a:ea typeface="Open Sans Light"/>
                <a:cs typeface="Open Sans Light"/>
              </a:rPr>
            </a:br>
            <a:r>
              <a:rPr lang="en-GB" sz="1200">
                <a:latin typeface="Quire Sans Pro Light"/>
                <a:ea typeface="Open Sans Light"/>
                <a:cs typeface="Open Sans Light"/>
              </a:rPr>
              <a:t>"algo-threatened"</a:t>
            </a:r>
            <a:r>
              <a:rPr lang="en-GB" sz="1200" b="1">
                <a:latin typeface="Quire Sans Pro Light"/>
                <a:ea typeface="Open Sans Light"/>
                <a:cs typeface="Open Sans Light"/>
              </a:rPr>
              <a:t> </a:t>
            </a:r>
            <a:r>
              <a:rPr lang="en-GB" sz="1200">
                <a:latin typeface="Quire Sans Pro Light"/>
                <a:ea typeface="Open Sans Light"/>
                <a:cs typeface="Open Sans Light"/>
              </a:rPr>
              <a:t>in the top 500 companies.</a:t>
            </a:r>
            <a:endParaRPr lang="en-GB" sz="1200"/>
          </a:p>
          <a:p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A5106B-ABBE-44E7-935D-20389809B56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26641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09675" y="685800"/>
            <a:ext cx="443865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ectonic shifts are taking place in the world of work. For many years we have heard about skills gaps and the disconnect between employers and higher education / further education and training organizations. Now automation is impacting work at scale, accelerating change, driving skills shifts and requiring agile organizations to adopt skills-based strategies to remain competitive and to grow productivity. </a:t>
            </a:r>
          </a:p>
          <a:p>
            <a:endParaRPr lang="en-US"/>
          </a:p>
          <a:p>
            <a:pPr algn="ctr"/>
            <a:r>
              <a:rPr lang="en-GB" sz="1200" b="1">
                <a:latin typeface="Quire Sans Pro Light"/>
                <a:ea typeface="Open Sans Light"/>
                <a:cs typeface="Calibri"/>
              </a:rPr>
              <a:t>New technologies change in-demand skills</a:t>
            </a:r>
            <a:r>
              <a:rPr lang="en-GB" sz="1200">
                <a:latin typeface="Quire Sans Pro Light"/>
                <a:ea typeface="Open Sans Light"/>
                <a:cs typeface="Calibri"/>
              </a:rPr>
              <a:t>.</a:t>
            </a:r>
            <a:br>
              <a:rPr lang="en-GB" sz="1200">
                <a:latin typeface="Quire Sans Pro Light"/>
                <a:ea typeface="Open Sans Light"/>
                <a:cs typeface="Calibri"/>
              </a:rPr>
            </a:br>
            <a:endParaRPr lang="en-US" sz="1200">
              <a:latin typeface="Quire Sans Pro Light"/>
              <a:ea typeface="Open Sans Light"/>
              <a:cs typeface="Open Sans Light"/>
            </a:endParaRPr>
          </a:p>
          <a:p>
            <a:pPr algn="ctr"/>
            <a:r>
              <a:rPr lang="en-GB" sz="1200">
                <a:latin typeface="Quire Sans Pro Light"/>
                <a:ea typeface="Open Sans Light"/>
                <a:cs typeface="Calibri"/>
              </a:rPr>
              <a:t>The half-life of technical skills is shortening. </a:t>
            </a:r>
            <a:endParaRPr lang="en-US" sz="1200">
              <a:latin typeface="Quire Sans Pro Light"/>
              <a:ea typeface="Open Sans Light"/>
              <a:cs typeface="Open Sans Light"/>
            </a:endParaRPr>
          </a:p>
          <a:p>
            <a:pPr algn="ctr"/>
            <a:endParaRPr lang="en-GB" sz="1200">
              <a:latin typeface="Quire Sans Pro Light"/>
              <a:ea typeface="Open Sans Light"/>
              <a:cs typeface="Calibri"/>
            </a:endParaRPr>
          </a:p>
          <a:p>
            <a:pPr algn="ctr"/>
            <a:r>
              <a:rPr lang="en-GB" sz="1200">
                <a:latin typeface="Quire Sans Pro Light"/>
                <a:ea typeface="Open Sans Light"/>
                <a:cs typeface="Calibri"/>
              </a:rPr>
              <a:t>Robot-proof human skills will persist and differentiate.</a:t>
            </a:r>
            <a:endParaRPr lang="en-GB" sz="1200"/>
          </a:p>
          <a:p>
            <a:pPr algn="ctr"/>
            <a:r>
              <a:rPr lang="en-GB" sz="1200" b="1">
                <a:latin typeface="Quire Sans Pro Light"/>
                <a:ea typeface="Open Sans Light"/>
                <a:cs typeface="Open Sans Light"/>
              </a:rPr>
              <a:t>1bn jobs will be transformed</a:t>
            </a:r>
            <a:r>
              <a:rPr lang="en-GB" sz="1200">
                <a:latin typeface="Quire Sans Pro Light"/>
                <a:ea typeface="Open Sans Light"/>
                <a:cs typeface="Open Sans Light"/>
              </a:rPr>
              <a:t> by technology in the next decade </a:t>
            </a:r>
            <a:endParaRPr lang="en-US" sz="1200">
              <a:cs typeface="Calibri"/>
            </a:endParaRPr>
          </a:p>
          <a:p>
            <a:pPr algn="ctr"/>
            <a:endParaRPr lang="en-GB" sz="1200">
              <a:latin typeface="Quire Sans Pro Light"/>
              <a:ea typeface="Open Sans Light"/>
              <a:cs typeface="Open Sans Light"/>
            </a:endParaRPr>
          </a:p>
          <a:p>
            <a:pPr algn="ctr"/>
            <a:r>
              <a:rPr lang="en-GB" sz="1200">
                <a:latin typeface="Quire Sans Pro Light"/>
                <a:ea typeface="Open Sans Light"/>
                <a:cs typeface="Open Sans Light"/>
              </a:rPr>
              <a:t>68m jobs are </a:t>
            </a:r>
            <a:br>
              <a:rPr lang="en-GB" sz="1200">
                <a:latin typeface="Quire Sans Pro Light"/>
                <a:ea typeface="Open Sans Light"/>
                <a:cs typeface="Open Sans Light"/>
              </a:rPr>
            </a:br>
            <a:r>
              <a:rPr lang="en-GB" sz="1200">
                <a:latin typeface="Quire Sans Pro Light"/>
                <a:ea typeface="Open Sans Light"/>
                <a:cs typeface="Open Sans Light"/>
              </a:rPr>
              <a:t>"algo-threatened"</a:t>
            </a:r>
            <a:r>
              <a:rPr lang="en-GB" sz="1200" b="1">
                <a:latin typeface="Quire Sans Pro Light"/>
                <a:ea typeface="Open Sans Light"/>
                <a:cs typeface="Open Sans Light"/>
              </a:rPr>
              <a:t> </a:t>
            </a:r>
            <a:r>
              <a:rPr lang="en-GB" sz="1200">
                <a:latin typeface="Quire Sans Pro Light"/>
                <a:ea typeface="Open Sans Light"/>
                <a:cs typeface="Open Sans Light"/>
              </a:rPr>
              <a:t>in the top 500 companies.</a:t>
            </a:r>
            <a:endParaRPr lang="en-GB" sz="1200"/>
          </a:p>
          <a:p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A5106B-ABBE-44E7-935D-20389809B56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16279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09675" y="685800"/>
            <a:ext cx="443865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ectonic shifts are taking place in the world of work. For many years we have heard about skills gaps and the disconnect between employers and higher education / further education and training organizations. Now automation is impacting work at scale, accelerating change, driving skills shifts and requiring agile organizations to adopt skills-based strategies to remain competitive and to grow productivity. </a:t>
            </a:r>
          </a:p>
          <a:p>
            <a:endParaRPr lang="en-US"/>
          </a:p>
          <a:p>
            <a:pPr algn="ctr"/>
            <a:r>
              <a:rPr lang="en-GB" sz="1200" b="1">
                <a:latin typeface="Quire Sans Pro Light"/>
                <a:ea typeface="Open Sans Light"/>
                <a:cs typeface="Calibri"/>
              </a:rPr>
              <a:t>New technologies change in-demand skills</a:t>
            </a:r>
            <a:r>
              <a:rPr lang="en-GB" sz="1200">
                <a:latin typeface="Quire Sans Pro Light"/>
                <a:ea typeface="Open Sans Light"/>
                <a:cs typeface="Calibri"/>
              </a:rPr>
              <a:t>.</a:t>
            </a:r>
            <a:br>
              <a:rPr lang="en-GB" sz="1200">
                <a:latin typeface="Quire Sans Pro Light"/>
                <a:ea typeface="Open Sans Light"/>
                <a:cs typeface="Calibri"/>
              </a:rPr>
            </a:br>
            <a:endParaRPr lang="en-US" sz="1200">
              <a:latin typeface="Quire Sans Pro Light"/>
              <a:ea typeface="Open Sans Light"/>
              <a:cs typeface="Open Sans Light"/>
            </a:endParaRPr>
          </a:p>
          <a:p>
            <a:pPr algn="ctr"/>
            <a:r>
              <a:rPr lang="en-GB" sz="1200">
                <a:latin typeface="Quire Sans Pro Light"/>
                <a:ea typeface="Open Sans Light"/>
                <a:cs typeface="Calibri"/>
              </a:rPr>
              <a:t>The half-life of technical skills is shortening. </a:t>
            </a:r>
            <a:endParaRPr lang="en-US" sz="1200">
              <a:latin typeface="Quire Sans Pro Light"/>
              <a:ea typeface="Open Sans Light"/>
              <a:cs typeface="Open Sans Light"/>
            </a:endParaRPr>
          </a:p>
          <a:p>
            <a:pPr algn="ctr"/>
            <a:endParaRPr lang="en-GB" sz="1200">
              <a:latin typeface="Quire Sans Pro Light"/>
              <a:ea typeface="Open Sans Light"/>
              <a:cs typeface="Calibri"/>
            </a:endParaRPr>
          </a:p>
          <a:p>
            <a:pPr algn="ctr"/>
            <a:r>
              <a:rPr lang="en-GB" sz="1200">
                <a:latin typeface="Quire Sans Pro Light"/>
                <a:ea typeface="Open Sans Light"/>
                <a:cs typeface="Calibri"/>
              </a:rPr>
              <a:t>Robot-proof human skills will persist and differentiate.</a:t>
            </a:r>
            <a:endParaRPr lang="en-GB" sz="1200"/>
          </a:p>
          <a:p>
            <a:pPr algn="ctr"/>
            <a:r>
              <a:rPr lang="en-GB" sz="1200" b="1">
                <a:latin typeface="Quire Sans Pro Light"/>
                <a:ea typeface="Open Sans Light"/>
                <a:cs typeface="Open Sans Light"/>
              </a:rPr>
              <a:t>1bn jobs will be transformed</a:t>
            </a:r>
            <a:r>
              <a:rPr lang="en-GB" sz="1200">
                <a:latin typeface="Quire Sans Pro Light"/>
                <a:ea typeface="Open Sans Light"/>
                <a:cs typeface="Open Sans Light"/>
              </a:rPr>
              <a:t> by technology in the next decade </a:t>
            </a:r>
            <a:endParaRPr lang="en-US" sz="1200">
              <a:cs typeface="Calibri"/>
            </a:endParaRPr>
          </a:p>
          <a:p>
            <a:pPr algn="ctr"/>
            <a:endParaRPr lang="en-GB" sz="1200">
              <a:latin typeface="Quire Sans Pro Light"/>
              <a:ea typeface="Open Sans Light"/>
              <a:cs typeface="Open Sans Light"/>
            </a:endParaRPr>
          </a:p>
          <a:p>
            <a:pPr algn="ctr"/>
            <a:r>
              <a:rPr lang="en-GB" sz="1200">
                <a:latin typeface="Quire Sans Pro Light"/>
                <a:ea typeface="Open Sans Light"/>
                <a:cs typeface="Open Sans Light"/>
              </a:rPr>
              <a:t>68m jobs are </a:t>
            </a:r>
            <a:br>
              <a:rPr lang="en-GB" sz="1200">
                <a:latin typeface="Quire Sans Pro Light"/>
                <a:ea typeface="Open Sans Light"/>
                <a:cs typeface="Open Sans Light"/>
              </a:rPr>
            </a:br>
            <a:r>
              <a:rPr lang="en-GB" sz="1200">
                <a:latin typeface="Quire Sans Pro Light"/>
                <a:ea typeface="Open Sans Light"/>
                <a:cs typeface="Open Sans Light"/>
              </a:rPr>
              <a:t>"algo-threatened"</a:t>
            </a:r>
            <a:r>
              <a:rPr lang="en-GB" sz="1200" b="1">
                <a:latin typeface="Quire Sans Pro Light"/>
                <a:ea typeface="Open Sans Light"/>
                <a:cs typeface="Open Sans Light"/>
              </a:rPr>
              <a:t> </a:t>
            </a:r>
            <a:r>
              <a:rPr lang="en-GB" sz="1200">
                <a:latin typeface="Quire Sans Pro Light"/>
                <a:ea typeface="Open Sans Light"/>
                <a:cs typeface="Open Sans Light"/>
              </a:rPr>
              <a:t>in the top 500 companies.</a:t>
            </a:r>
            <a:endParaRPr lang="en-GB" sz="1200"/>
          </a:p>
          <a:p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A5106B-ABBE-44E7-935D-20389809B56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2789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09675" y="685800"/>
            <a:ext cx="443865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ectonic shifts are taking place in the world of work. For many years we have heard about skills gaps and the disconnect between employers and higher education / further education and training organizations. Now automation is impacting work at scale, accelerating change, driving skills shifts and requiring agile organizations to adopt skills-based strategies to remain competitive and to grow productivity. </a:t>
            </a:r>
          </a:p>
          <a:p>
            <a:endParaRPr lang="en-US"/>
          </a:p>
          <a:p>
            <a:pPr algn="ctr"/>
            <a:r>
              <a:rPr lang="en-GB" sz="1200" b="1">
                <a:latin typeface="Quire Sans Pro Light"/>
                <a:ea typeface="Open Sans Light"/>
                <a:cs typeface="Calibri"/>
              </a:rPr>
              <a:t>New technologies change in-demand skills</a:t>
            </a:r>
            <a:r>
              <a:rPr lang="en-GB" sz="1200">
                <a:latin typeface="Quire Sans Pro Light"/>
                <a:ea typeface="Open Sans Light"/>
                <a:cs typeface="Calibri"/>
              </a:rPr>
              <a:t>.</a:t>
            </a:r>
            <a:br>
              <a:rPr lang="en-GB" sz="1200">
                <a:latin typeface="Quire Sans Pro Light"/>
                <a:ea typeface="Open Sans Light"/>
                <a:cs typeface="Calibri"/>
              </a:rPr>
            </a:br>
            <a:endParaRPr lang="en-US" sz="1200">
              <a:latin typeface="Quire Sans Pro Light"/>
              <a:ea typeface="Open Sans Light"/>
              <a:cs typeface="Open Sans Light"/>
            </a:endParaRPr>
          </a:p>
          <a:p>
            <a:pPr algn="ctr"/>
            <a:r>
              <a:rPr lang="en-GB" sz="1200">
                <a:latin typeface="Quire Sans Pro Light"/>
                <a:ea typeface="Open Sans Light"/>
                <a:cs typeface="Calibri"/>
              </a:rPr>
              <a:t>The half-life of technical skills is shortening. </a:t>
            </a:r>
            <a:endParaRPr lang="en-US" sz="1200">
              <a:latin typeface="Quire Sans Pro Light"/>
              <a:ea typeface="Open Sans Light"/>
              <a:cs typeface="Open Sans Light"/>
            </a:endParaRPr>
          </a:p>
          <a:p>
            <a:pPr algn="ctr"/>
            <a:endParaRPr lang="en-GB" sz="1200">
              <a:latin typeface="Quire Sans Pro Light"/>
              <a:ea typeface="Open Sans Light"/>
              <a:cs typeface="Calibri"/>
            </a:endParaRPr>
          </a:p>
          <a:p>
            <a:pPr algn="ctr"/>
            <a:r>
              <a:rPr lang="en-GB" sz="1200">
                <a:latin typeface="Quire Sans Pro Light"/>
                <a:ea typeface="Open Sans Light"/>
                <a:cs typeface="Calibri"/>
              </a:rPr>
              <a:t>Robot-proof human skills will persist and differentiate.</a:t>
            </a:r>
            <a:endParaRPr lang="en-GB" sz="1200"/>
          </a:p>
          <a:p>
            <a:pPr algn="ctr"/>
            <a:r>
              <a:rPr lang="en-GB" sz="1200" b="1">
                <a:latin typeface="Quire Sans Pro Light"/>
                <a:ea typeface="Open Sans Light"/>
                <a:cs typeface="Open Sans Light"/>
              </a:rPr>
              <a:t>1bn jobs will be transformed</a:t>
            </a:r>
            <a:r>
              <a:rPr lang="en-GB" sz="1200">
                <a:latin typeface="Quire Sans Pro Light"/>
                <a:ea typeface="Open Sans Light"/>
                <a:cs typeface="Open Sans Light"/>
              </a:rPr>
              <a:t> by technology in the next decade </a:t>
            </a:r>
            <a:endParaRPr lang="en-US" sz="1200">
              <a:cs typeface="Calibri"/>
            </a:endParaRPr>
          </a:p>
          <a:p>
            <a:pPr algn="ctr"/>
            <a:endParaRPr lang="en-GB" sz="1200">
              <a:latin typeface="Quire Sans Pro Light"/>
              <a:ea typeface="Open Sans Light"/>
              <a:cs typeface="Open Sans Light"/>
            </a:endParaRPr>
          </a:p>
          <a:p>
            <a:pPr algn="ctr"/>
            <a:r>
              <a:rPr lang="en-GB" sz="1200">
                <a:latin typeface="Quire Sans Pro Light"/>
                <a:ea typeface="Open Sans Light"/>
                <a:cs typeface="Open Sans Light"/>
              </a:rPr>
              <a:t>68m jobs are </a:t>
            </a:r>
            <a:br>
              <a:rPr lang="en-GB" sz="1200">
                <a:latin typeface="Quire Sans Pro Light"/>
                <a:ea typeface="Open Sans Light"/>
                <a:cs typeface="Open Sans Light"/>
              </a:rPr>
            </a:br>
            <a:r>
              <a:rPr lang="en-GB" sz="1200">
                <a:latin typeface="Quire Sans Pro Light"/>
                <a:ea typeface="Open Sans Light"/>
                <a:cs typeface="Open Sans Light"/>
              </a:rPr>
              <a:t>"algo-threatened"</a:t>
            </a:r>
            <a:r>
              <a:rPr lang="en-GB" sz="1200" b="1">
                <a:latin typeface="Quire Sans Pro Light"/>
                <a:ea typeface="Open Sans Light"/>
                <a:cs typeface="Open Sans Light"/>
              </a:rPr>
              <a:t> </a:t>
            </a:r>
            <a:r>
              <a:rPr lang="en-GB" sz="1200">
                <a:latin typeface="Quire Sans Pro Light"/>
                <a:ea typeface="Open Sans Light"/>
                <a:cs typeface="Open Sans Light"/>
              </a:rPr>
              <a:t>in the top 500 companies.</a:t>
            </a:r>
            <a:endParaRPr lang="en-GB" sz="1200"/>
          </a:p>
          <a:p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A5106B-ABBE-44E7-935D-20389809B564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67425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1" name="Google Shape;641;g155c23fd57e_0_50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431925" y="1143000"/>
            <a:ext cx="399415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42" name="Google Shape;642;g155c23fd57e_0_509:notes"/>
          <p:cNvSpPr txBox="1">
            <a:spLocks noGrp="1"/>
          </p:cNvSpPr>
          <p:nvPr>
            <p:ph type="body" idx="1"/>
          </p:nvPr>
        </p:nvSpPr>
        <p:spPr>
          <a:xfrm>
            <a:off x="685800" y="4400549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"/>
              <a:t>Digital credentials can be used to represent a wide range of learning-related outcomes, from experiences to non-credit, credit, and even entire certifications or diplomas. The advantage of the industry-standard Open Badge credential format is that the data is highly structured and the achievements are interoperable and learner-controlled.</a:t>
            </a:r>
            <a:endParaRPr/>
          </a:p>
        </p:txBody>
      </p:sp>
      <p:sp>
        <p:nvSpPr>
          <p:cNvPr id="643" name="Google Shape;643;g155c23fd57e_0_50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fld id="{00000000-1234-1234-1234-123412341234}" type="slidenum">
              <a:rPr kumimoji="0" lang="en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t>8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" name="Google Shape;737;g11f39527a23_0_1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38" name="Google Shape;738;g11f39527a23_0_1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858027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2" name="Google Shape;752;g11f39527a23_0_1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53" name="Google Shape;753;g11f39527a23_0_1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Full case study: https://resources.credly.com/resources/case-study-autodesk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393201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D50A8C-772A-444D-B79F-A6B2D17EDB7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51758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754380" y="2409444"/>
            <a:ext cx="8549640" cy="163220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508760" y="4352544"/>
            <a:ext cx="7040880" cy="19431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19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50" b="0" i="0">
                <a:solidFill>
                  <a:srgbClr val="AFAAAA"/>
                </a:solidFill>
                <a:latin typeface="Arial"/>
                <a:cs typeface="Arial"/>
              </a:defRPr>
            </a:lvl1pPr>
          </a:lstStyle>
          <a:p>
            <a:pPr marL="39370">
              <a:lnSpc>
                <a:spcPct val="100000"/>
              </a:lnSpc>
              <a:spcBef>
                <a:spcPts val="35"/>
              </a:spcBef>
            </a:pPr>
            <a:fld id="{81D60167-4931-47E6-BA6A-407CBD079E47}" type="slidenum">
              <a:rPr spc="-5" dirty="0"/>
              <a:t>‹#›</a:t>
            </a:fld>
            <a:endParaRPr spc="-5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_ 2 column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8D6D37C-7584-E94F-BD5E-47BD8D71902C}"/>
              </a:ext>
            </a:extLst>
          </p:cNvPr>
          <p:cNvSpPr/>
          <p:nvPr/>
        </p:nvSpPr>
        <p:spPr>
          <a:xfrm>
            <a:off x="5" y="629709"/>
            <a:ext cx="840819" cy="131339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55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7829038-C33E-E14F-A39E-A9A3AB5CFBF1}"/>
              </a:ext>
            </a:extLst>
          </p:cNvPr>
          <p:cNvCxnSpPr>
            <a:cxnSpLocks/>
          </p:cNvCxnSpPr>
          <p:nvPr/>
        </p:nvCxnSpPr>
        <p:spPr>
          <a:xfrm>
            <a:off x="855227" y="629714"/>
            <a:ext cx="0" cy="1307995"/>
          </a:xfrm>
          <a:prstGeom prst="line">
            <a:avLst/>
          </a:prstGeom>
          <a:ln w="635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683BD36-B2E0-E34D-A0C0-77A7165923F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292603" y="6436560"/>
            <a:ext cx="182245" cy="115416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F0F2AA-7572-DC4D-AB68-865F32F517C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5"/>
          </p:nvPr>
        </p:nvSpPr>
        <p:spPr>
          <a:xfrm>
            <a:off x="5029200" y="2072642"/>
            <a:ext cx="3917694" cy="4451709"/>
          </a:xfrm>
          <a:prstGeom prst="rect">
            <a:avLst/>
          </a:prstGeom>
        </p:spPr>
        <p:txBody>
          <a:bodyPr>
            <a:normAutofit/>
          </a:bodyPr>
          <a:lstStyle>
            <a:lvl1pPr marL="235728" marR="0" indent="-235728" algn="l" defTabSz="565744" rtl="0" eaLnBrk="1" fontAlgn="auto" latinLnBrk="0" hangingPunct="1">
              <a:lnSpc>
                <a:spcPct val="90000"/>
              </a:lnSpc>
              <a:spcBef>
                <a:spcPts val="619"/>
              </a:spcBef>
              <a:spcAft>
                <a:spcPts val="990"/>
              </a:spcAft>
              <a:buClrTx/>
              <a:buSzTx/>
              <a:buFont typeface="Arial" panose="020B0604020202020204" pitchFamily="34" charset="0"/>
              <a:buChar char="•"/>
              <a:tabLst/>
              <a:defRPr sz="132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282872" indent="0">
              <a:buNone/>
              <a:defRPr sz="867"/>
            </a:lvl2pPr>
            <a:lvl3pPr marL="565744" indent="0">
              <a:buNone/>
              <a:defRPr sz="743"/>
            </a:lvl3pPr>
            <a:lvl4pPr marL="848615" indent="0">
              <a:buNone/>
              <a:defRPr sz="619"/>
            </a:lvl4pPr>
            <a:lvl5pPr marL="1131486" indent="0">
              <a:buNone/>
              <a:defRPr sz="619"/>
            </a:lvl5pPr>
            <a:lvl6pPr marL="1414357" indent="0">
              <a:buNone/>
              <a:defRPr sz="619"/>
            </a:lvl6pPr>
            <a:lvl7pPr marL="1697229" indent="0">
              <a:buNone/>
              <a:defRPr sz="619"/>
            </a:lvl7pPr>
            <a:lvl8pPr marL="1980099" indent="0">
              <a:buNone/>
              <a:defRPr sz="619"/>
            </a:lvl8pPr>
            <a:lvl9pPr marL="2262971" indent="0">
              <a:buNone/>
              <a:defRPr sz="619"/>
            </a:lvl9pPr>
          </a:lstStyle>
          <a:p>
            <a:pPr marL="235728" marR="0" lvl="0" indent="-235728" algn="l" defTabSz="565744" rtl="0" eaLnBrk="1" fontAlgn="auto" latinLnBrk="0" hangingPunct="1">
              <a:lnSpc>
                <a:spcPct val="90000"/>
              </a:lnSpc>
              <a:spcBef>
                <a:spcPts val="619"/>
              </a:spcBef>
              <a:spcAft>
                <a:spcPts val="99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235728" marR="0" lvl="0" indent="-235728" algn="l" defTabSz="565744" rtl="0" eaLnBrk="1" fontAlgn="auto" latinLnBrk="0" hangingPunct="1">
              <a:lnSpc>
                <a:spcPct val="90000"/>
              </a:lnSpc>
              <a:spcBef>
                <a:spcPts val="619"/>
              </a:spcBef>
              <a:spcAft>
                <a:spcPts val="99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4"/>
          </p:nvPr>
        </p:nvSpPr>
        <p:spPr>
          <a:xfrm>
            <a:off x="976578" y="2072642"/>
            <a:ext cx="3917694" cy="4451709"/>
          </a:xfrm>
          <a:prstGeom prst="rect">
            <a:avLst/>
          </a:prstGeom>
        </p:spPr>
        <p:txBody>
          <a:bodyPr>
            <a:normAutofit/>
          </a:bodyPr>
          <a:lstStyle>
            <a:lvl1pPr marL="235728" marR="0" indent="-235728" algn="l" defTabSz="565744" rtl="0" eaLnBrk="1" fontAlgn="auto" latinLnBrk="0" hangingPunct="1">
              <a:lnSpc>
                <a:spcPct val="90000"/>
              </a:lnSpc>
              <a:spcBef>
                <a:spcPts val="619"/>
              </a:spcBef>
              <a:spcAft>
                <a:spcPts val="990"/>
              </a:spcAft>
              <a:buClrTx/>
              <a:buSzTx/>
              <a:buFont typeface="Arial" panose="020B0604020202020204" pitchFamily="34" charset="0"/>
              <a:buChar char="•"/>
              <a:tabLst/>
              <a:defRPr sz="132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282872" indent="0">
              <a:buNone/>
              <a:defRPr sz="867"/>
            </a:lvl2pPr>
            <a:lvl3pPr marL="565744" indent="0">
              <a:buNone/>
              <a:defRPr sz="743"/>
            </a:lvl3pPr>
            <a:lvl4pPr marL="848615" indent="0">
              <a:buNone/>
              <a:defRPr sz="619"/>
            </a:lvl4pPr>
            <a:lvl5pPr marL="1131486" indent="0">
              <a:buNone/>
              <a:defRPr sz="619"/>
            </a:lvl5pPr>
            <a:lvl6pPr marL="1414357" indent="0">
              <a:buNone/>
              <a:defRPr sz="619"/>
            </a:lvl6pPr>
            <a:lvl7pPr marL="1697229" indent="0">
              <a:buNone/>
              <a:defRPr sz="619"/>
            </a:lvl7pPr>
            <a:lvl8pPr marL="1980099" indent="0">
              <a:buNone/>
              <a:defRPr sz="619"/>
            </a:lvl8pPr>
            <a:lvl9pPr marL="2262971" indent="0">
              <a:buNone/>
              <a:defRPr sz="61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marL="235728" marR="0" lvl="0" indent="-235728" algn="l" defTabSz="565744" rtl="0" eaLnBrk="1" fontAlgn="auto" latinLnBrk="0" hangingPunct="1">
              <a:lnSpc>
                <a:spcPct val="90000"/>
              </a:lnSpc>
              <a:spcBef>
                <a:spcPts val="619"/>
              </a:spcBef>
              <a:spcAft>
                <a:spcPts val="99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976581" y="647704"/>
            <a:ext cx="8222668" cy="126841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297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24410312"/>
      </p:ext>
    </p:extLst>
  </p:cSld>
  <p:clrMapOvr>
    <a:masterClrMapping/>
  </p:clrMapOvr>
  <p:transition spd="slow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_acc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744ED8C-8847-EA41-9338-C6E46B61F7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" y="629709"/>
            <a:ext cx="840819" cy="131063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85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976577" y="647700"/>
            <a:ext cx="8222669" cy="126841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sz="297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2C1CAAB-00F4-184E-88C4-75D6880DC45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976577" y="2146407"/>
            <a:ext cx="8227457" cy="20313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2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377190" indent="0">
              <a:buFontTx/>
              <a:buNone/>
              <a:defRPr sz="132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754380" indent="0">
              <a:buFontTx/>
              <a:buNone/>
              <a:defRPr sz="132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131570" indent="0">
              <a:buFontTx/>
              <a:buNone/>
              <a:defRPr sz="132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508760" indent="0">
              <a:buFontTx/>
              <a:buNone/>
              <a:defRPr sz="1320" b="0" i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/>
              <a:t>Click to edit content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AC23712-3DEB-F145-81F4-D8A1E3A471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55226" y="629709"/>
            <a:ext cx="0" cy="1310635"/>
          </a:xfrm>
          <a:prstGeom prst="line">
            <a:avLst/>
          </a:prstGeom>
          <a:ln w="635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1202A0-9646-4147-8DBB-1BF33177D5D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92603" y="6436560"/>
            <a:ext cx="182245" cy="115416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AC2BAD-9516-2B47-9900-7FC05ED2F00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0039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65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265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19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50" b="0" i="0">
                <a:solidFill>
                  <a:srgbClr val="AFAAAA"/>
                </a:solidFill>
                <a:latin typeface="Arial"/>
                <a:cs typeface="Arial"/>
              </a:defRPr>
            </a:lvl1pPr>
          </a:lstStyle>
          <a:p>
            <a:pPr marL="39370">
              <a:lnSpc>
                <a:spcPct val="100000"/>
              </a:lnSpc>
              <a:spcBef>
                <a:spcPts val="35"/>
              </a:spcBef>
            </a:pPr>
            <a:fld id="{81D60167-4931-47E6-BA6A-407CBD079E47}" type="slidenum">
              <a:rPr spc="-5" dirty="0"/>
              <a:t>‹#›</a:t>
            </a:fld>
            <a:endParaRPr spc="-5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65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502920" y="1787652"/>
            <a:ext cx="4375404" cy="512978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5180076" y="1787652"/>
            <a:ext cx="4375404" cy="512978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19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50" b="0" i="0">
                <a:solidFill>
                  <a:srgbClr val="AFAAAA"/>
                </a:solidFill>
                <a:latin typeface="Arial"/>
                <a:cs typeface="Arial"/>
              </a:defRPr>
            </a:lvl1pPr>
          </a:lstStyle>
          <a:p>
            <a:pPr marL="39370">
              <a:lnSpc>
                <a:spcPct val="100000"/>
              </a:lnSpc>
              <a:spcBef>
                <a:spcPts val="35"/>
              </a:spcBef>
            </a:pPr>
            <a:fld id="{81D60167-4931-47E6-BA6A-407CBD079E47}" type="slidenum">
              <a:rPr spc="-5" dirty="0"/>
              <a:t>‹#›</a:t>
            </a:fld>
            <a:endParaRPr spc="-5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65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19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50" b="0" i="0">
                <a:solidFill>
                  <a:srgbClr val="AFAAAA"/>
                </a:solidFill>
                <a:latin typeface="Arial"/>
                <a:cs typeface="Arial"/>
              </a:defRPr>
            </a:lvl1pPr>
          </a:lstStyle>
          <a:p>
            <a:pPr marL="39370">
              <a:lnSpc>
                <a:spcPct val="100000"/>
              </a:lnSpc>
              <a:spcBef>
                <a:spcPts val="35"/>
              </a:spcBef>
            </a:pPr>
            <a:fld id="{81D60167-4931-47E6-BA6A-407CBD079E47}" type="slidenum">
              <a:rPr spc="-5" dirty="0"/>
              <a:t>‹#›</a:t>
            </a:fld>
            <a:endParaRPr spc="-5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1057655"/>
            <a:ext cx="10058400" cy="5658611"/>
          </a:xfrm>
          <a:prstGeom prst="rect">
            <a:avLst/>
          </a:prstGeom>
        </p:spPr>
      </p:pic>
      <p:sp>
        <p:nvSpPr>
          <p:cNvPr id="17" name="bg object 17"/>
          <p:cNvSpPr/>
          <p:nvPr/>
        </p:nvSpPr>
        <p:spPr>
          <a:xfrm>
            <a:off x="0" y="1057655"/>
            <a:ext cx="10058400" cy="190500"/>
          </a:xfrm>
          <a:custGeom>
            <a:avLst/>
            <a:gdLst/>
            <a:ahLst/>
            <a:cxnLst/>
            <a:rect l="l" t="t" r="r" b="b"/>
            <a:pathLst>
              <a:path w="10058400" h="190500">
                <a:moveTo>
                  <a:pt x="10058400" y="190499"/>
                </a:moveTo>
                <a:lnTo>
                  <a:pt x="0" y="190499"/>
                </a:lnTo>
                <a:lnTo>
                  <a:pt x="0" y="0"/>
                </a:lnTo>
                <a:lnTo>
                  <a:pt x="10058400" y="0"/>
                </a:lnTo>
                <a:lnTo>
                  <a:pt x="10058400" y="190499"/>
                </a:lnTo>
                <a:close/>
              </a:path>
            </a:pathLst>
          </a:custGeom>
          <a:solidFill>
            <a:srgbClr val="FFD6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g object 18"/>
          <p:cNvSpPr/>
          <p:nvPr/>
        </p:nvSpPr>
        <p:spPr>
          <a:xfrm>
            <a:off x="9119616" y="6507479"/>
            <a:ext cx="571500" cy="43180"/>
          </a:xfrm>
          <a:custGeom>
            <a:avLst/>
            <a:gdLst/>
            <a:ahLst/>
            <a:cxnLst/>
            <a:rect l="l" t="t" r="r" b="b"/>
            <a:pathLst>
              <a:path w="571500" h="43179">
                <a:moveTo>
                  <a:pt x="27432" y="1524"/>
                </a:moveTo>
                <a:lnTo>
                  <a:pt x="0" y="1524"/>
                </a:lnTo>
                <a:lnTo>
                  <a:pt x="0" y="7620"/>
                </a:lnTo>
                <a:lnTo>
                  <a:pt x="9144" y="7620"/>
                </a:lnTo>
                <a:lnTo>
                  <a:pt x="9144" y="42672"/>
                </a:lnTo>
                <a:lnTo>
                  <a:pt x="16764" y="42672"/>
                </a:lnTo>
                <a:lnTo>
                  <a:pt x="16764" y="7620"/>
                </a:lnTo>
                <a:lnTo>
                  <a:pt x="27432" y="7620"/>
                </a:lnTo>
                <a:lnTo>
                  <a:pt x="27432" y="1524"/>
                </a:lnTo>
                <a:close/>
              </a:path>
              <a:path w="571500" h="43179">
                <a:moveTo>
                  <a:pt x="62484" y="1536"/>
                </a:moveTo>
                <a:lnTo>
                  <a:pt x="41148" y="1536"/>
                </a:lnTo>
                <a:lnTo>
                  <a:pt x="41148" y="42684"/>
                </a:lnTo>
                <a:lnTo>
                  <a:pt x="62484" y="42684"/>
                </a:lnTo>
                <a:lnTo>
                  <a:pt x="62484" y="36588"/>
                </a:lnTo>
                <a:lnTo>
                  <a:pt x="47244" y="36588"/>
                </a:lnTo>
                <a:lnTo>
                  <a:pt x="47244" y="24396"/>
                </a:lnTo>
                <a:lnTo>
                  <a:pt x="60960" y="24396"/>
                </a:lnTo>
                <a:lnTo>
                  <a:pt x="60960" y="18300"/>
                </a:lnTo>
                <a:lnTo>
                  <a:pt x="47244" y="18300"/>
                </a:lnTo>
                <a:lnTo>
                  <a:pt x="47244" y="7632"/>
                </a:lnTo>
                <a:lnTo>
                  <a:pt x="62484" y="7632"/>
                </a:lnTo>
                <a:lnTo>
                  <a:pt x="62484" y="1536"/>
                </a:lnTo>
                <a:close/>
              </a:path>
              <a:path w="571500" h="43179">
                <a:moveTo>
                  <a:pt x="102108" y="6096"/>
                </a:moveTo>
                <a:lnTo>
                  <a:pt x="99060" y="4572"/>
                </a:lnTo>
                <a:lnTo>
                  <a:pt x="97536" y="1524"/>
                </a:lnTo>
                <a:lnTo>
                  <a:pt x="83820" y="1524"/>
                </a:lnTo>
                <a:lnTo>
                  <a:pt x="77724" y="6096"/>
                </a:lnTo>
                <a:lnTo>
                  <a:pt x="77724" y="19812"/>
                </a:lnTo>
                <a:lnTo>
                  <a:pt x="83820" y="21336"/>
                </a:lnTo>
                <a:lnTo>
                  <a:pt x="88392" y="24384"/>
                </a:lnTo>
                <a:lnTo>
                  <a:pt x="92964" y="25908"/>
                </a:lnTo>
                <a:lnTo>
                  <a:pt x="96012" y="28956"/>
                </a:lnTo>
                <a:lnTo>
                  <a:pt x="96012" y="35052"/>
                </a:lnTo>
                <a:lnTo>
                  <a:pt x="94488" y="36576"/>
                </a:lnTo>
                <a:lnTo>
                  <a:pt x="83820" y="36576"/>
                </a:lnTo>
                <a:lnTo>
                  <a:pt x="83820" y="28956"/>
                </a:lnTo>
                <a:lnTo>
                  <a:pt x="77724" y="28956"/>
                </a:lnTo>
                <a:lnTo>
                  <a:pt x="77724" y="36576"/>
                </a:lnTo>
                <a:lnTo>
                  <a:pt x="80772" y="39624"/>
                </a:lnTo>
                <a:lnTo>
                  <a:pt x="82296" y="42672"/>
                </a:lnTo>
                <a:lnTo>
                  <a:pt x="97536" y="42672"/>
                </a:lnTo>
                <a:lnTo>
                  <a:pt x="102108" y="39624"/>
                </a:lnTo>
                <a:lnTo>
                  <a:pt x="102108" y="36576"/>
                </a:lnTo>
                <a:lnTo>
                  <a:pt x="102108" y="24384"/>
                </a:lnTo>
                <a:lnTo>
                  <a:pt x="92964" y="18288"/>
                </a:lnTo>
                <a:lnTo>
                  <a:pt x="88392" y="16764"/>
                </a:lnTo>
                <a:lnTo>
                  <a:pt x="85344" y="15240"/>
                </a:lnTo>
                <a:lnTo>
                  <a:pt x="85344" y="7620"/>
                </a:lnTo>
                <a:lnTo>
                  <a:pt x="94488" y="7620"/>
                </a:lnTo>
                <a:lnTo>
                  <a:pt x="94488" y="9144"/>
                </a:lnTo>
                <a:lnTo>
                  <a:pt x="96012" y="10668"/>
                </a:lnTo>
                <a:lnTo>
                  <a:pt x="96012" y="13716"/>
                </a:lnTo>
                <a:lnTo>
                  <a:pt x="102108" y="13716"/>
                </a:lnTo>
                <a:lnTo>
                  <a:pt x="102108" y="7620"/>
                </a:lnTo>
                <a:lnTo>
                  <a:pt x="102108" y="6096"/>
                </a:lnTo>
                <a:close/>
              </a:path>
              <a:path w="571500" h="43179">
                <a:moveTo>
                  <a:pt x="143243" y="1524"/>
                </a:moveTo>
                <a:lnTo>
                  <a:pt x="115811" y="1524"/>
                </a:lnTo>
                <a:lnTo>
                  <a:pt x="115811" y="7620"/>
                </a:lnTo>
                <a:lnTo>
                  <a:pt x="126479" y="7620"/>
                </a:lnTo>
                <a:lnTo>
                  <a:pt x="126479" y="42672"/>
                </a:lnTo>
                <a:lnTo>
                  <a:pt x="132575" y="42672"/>
                </a:lnTo>
                <a:lnTo>
                  <a:pt x="132575" y="7620"/>
                </a:lnTo>
                <a:lnTo>
                  <a:pt x="143243" y="7620"/>
                </a:lnTo>
                <a:lnTo>
                  <a:pt x="143243" y="1524"/>
                </a:lnTo>
                <a:close/>
              </a:path>
              <a:path w="571500" h="43179">
                <a:moveTo>
                  <a:pt x="164579" y="1524"/>
                </a:moveTo>
                <a:lnTo>
                  <a:pt x="156959" y="1524"/>
                </a:lnTo>
                <a:lnTo>
                  <a:pt x="156959" y="42672"/>
                </a:lnTo>
                <a:lnTo>
                  <a:pt x="164579" y="42672"/>
                </a:lnTo>
                <a:lnTo>
                  <a:pt x="164579" y="1524"/>
                </a:lnTo>
                <a:close/>
              </a:path>
              <a:path w="571500" h="43179">
                <a:moveTo>
                  <a:pt x="211823" y="1524"/>
                </a:moveTo>
                <a:lnTo>
                  <a:pt x="205727" y="1524"/>
                </a:lnTo>
                <a:lnTo>
                  <a:pt x="205727" y="32004"/>
                </a:lnTo>
                <a:lnTo>
                  <a:pt x="192011" y="1524"/>
                </a:lnTo>
                <a:lnTo>
                  <a:pt x="182867" y="1524"/>
                </a:lnTo>
                <a:lnTo>
                  <a:pt x="182867" y="42672"/>
                </a:lnTo>
                <a:lnTo>
                  <a:pt x="188963" y="42672"/>
                </a:lnTo>
                <a:lnTo>
                  <a:pt x="188963" y="12192"/>
                </a:lnTo>
                <a:lnTo>
                  <a:pt x="202679" y="42672"/>
                </a:lnTo>
                <a:lnTo>
                  <a:pt x="211823" y="42672"/>
                </a:lnTo>
                <a:lnTo>
                  <a:pt x="211823" y="1524"/>
                </a:lnTo>
                <a:close/>
              </a:path>
              <a:path w="571500" h="43179">
                <a:moveTo>
                  <a:pt x="256032" y="9144"/>
                </a:moveTo>
                <a:lnTo>
                  <a:pt x="255270" y="7620"/>
                </a:lnTo>
                <a:lnTo>
                  <a:pt x="254508" y="6096"/>
                </a:lnTo>
                <a:lnTo>
                  <a:pt x="249936" y="1524"/>
                </a:lnTo>
                <a:lnTo>
                  <a:pt x="233172" y="1524"/>
                </a:lnTo>
                <a:lnTo>
                  <a:pt x="228600" y="6096"/>
                </a:lnTo>
                <a:lnTo>
                  <a:pt x="228600" y="38100"/>
                </a:lnTo>
                <a:lnTo>
                  <a:pt x="233172" y="42672"/>
                </a:lnTo>
                <a:lnTo>
                  <a:pt x="249936" y="42672"/>
                </a:lnTo>
                <a:lnTo>
                  <a:pt x="254508" y="39624"/>
                </a:lnTo>
                <a:lnTo>
                  <a:pt x="254508" y="36576"/>
                </a:lnTo>
                <a:lnTo>
                  <a:pt x="254508" y="19812"/>
                </a:lnTo>
                <a:lnTo>
                  <a:pt x="240792" y="19812"/>
                </a:lnTo>
                <a:lnTo>
                  <a:pt x="240792" y="25908"/>
                </a:lnTo>
                <a:lnTo>
                  <a:pt x="248412" y="25908"/>
                </a:lnTo>
                <a:lnTo>
                  <a:pt x="248412" y="36576"/>
                </a:lnTo>
                <a:lnTo>
                  <a:pt x="237744" y="36576"/>
                </a:lnTo>
                <a:lnTo>
                  <a:pt x="236220" y="35052"/>
                </a:lnTo>
                <a:lnTo>
                  <a:pt x="236220" y="7620"/>
                </a:lnTo>
                <a:lnTo>
                  <a:pt x="246888" y="7620"/>
                </a:lnTo>
                <a:lnTo>
                  <a:pt x="248412" y="9144"/>
                </a:lnTo>
                <a:lnTo>
                  <a:pt x="248412" y="13716"/>
                </a:lnTo>
                <a:lnTo>
                  <a:pt x="254508" y="13716"/>
                </a:lnTo>
                <a:lnTo>
                  <a:pt x="256032" y="9144"/>
                </a:lnTo>
                <a:close/>
              </a:path>
              <a:path w="571500" h="43179">
                <a:moveTo>
                  <a:pt x="320027" y="9144"/>
                </a:moveTo>
                <a:lnTo>
                  <a:pt x="319265" y="7620"/>
                </a:lnTo>
                <a:lnTo>
                  <a:pt x="318503" y="6096"/>
                </a:lnTo>
                <a:lnTo>
                  <a:pt x="316979" y="4572"/>
                </a:lnTo>
                <a:lnTo>
                  <a:pt x="315455" y="1524"/>
                </a:lnTo>
                <a:lnTo>
                  <a:pt x="300215" y="1524"/>
                </a:lnTo>
                <a:lnTo>
                  <a:pt x="295643" y="6096"/>
                </a:lnTo>
                <a:lnTo>
                  <a:pt x="295643" y="19812"/>
                </a:lnTo>
                <a:lnTo>
                  <a:pt x="301739" y="21336"/>
                </a:lnTo>
                <a:lnTo>
                  <a:pt x="306311" y="24384"/>
                </a:lnTo>
                <a:lnTo>
                  <a:pt x="309359" y="25908"/>
                </a:lnTo>
                <a:lnTo>
                  <a:pt x="312407" y="28956"/>
                </a:lnTo>
                <a:lnTo>
                  <a:pt x="312407" y="35052"/>
                </a:lnTo>
                <a:lnTo>
                  <a:pt x="310883" y="36576"/>
                </a:lnTo>
                <a:lnTo>
                  <a:pt x="301739" y="36576"/>
                </a:lnTo>
                <a:lnTo>
                  <a:pt x="301739" y="28956"/>
                </a:lnTo>
                <a:lnTo>
                  <a:pt x="294119" y="28956"/>
                </a:lnTo>
                <a:lnTo>
                  <a:pt x="294119" y="36576"/>
                </a:lnTo>
                <a:lnTo>
                  <a:pt x="300215" y="42672"/>
                </a:lnTo>
                <a:lnTo>
                  <a:pt x="315455" y="42672"/>
                </a:lnTo>
                <a:lnTo>
                  <a:pt x="320027" y="39624"/>
                </a:lnTo>
                <a:lnTo>
                  <a:pt x="320027" y="36576"/>
                </a:lnTo>
                <a:lnTo>
                  <a:pt x="320027" y="24384"/>
                </a:lnTo>
                <a:lnTo>
                  <a:pt x="313931" y="21336"/>
                </a:lnTo>
                <a:lnTo>
                  <a:pt x="309359" y="18288"/>
                </a:lnTo>
                <a:lnTo>
                  <a:pt x="303263" y="15240"/>
                </a:lnTo>
                <a:lnTo>
                  <a:pt x="303263" y="7620"/>
                </a:lnTo>
                <a:lnTo>
                  <a:pt x="310883" y="7620"/>
                </a:lnTo>
                <a:lnTo>
                  <a:pt x="312407" y="9144"/>
                </a:lnTo>
                <a:lnTo>
                  <a:pt x="312407" y="13716"/>
                </a:lnTo>
                <a:lnTo>
                  <a:pt x="320027" y="13716"/>
                </a:lnTo>
                <a:lnTo>
                  <a:pt x="320027" y="9144"/>
                </a:lnTo>
                <a:close/>
              </a:path>
              <a:path w="571500" h="43179">
                <a:moveTo>
                  <a:pt x="359664" y="36588"/>
                </a:moveTo>
                <a:lnTo>
                  <a:pt x="342900" y="36588"/>
                </a:lnTo>
                <a:lnTo>
                  <a:pt x="342900" y="24396"/>
                </a:lnTo>
                <a:lnTo>
                  <a:pt x="358140" y="24396"/>
                </a:lnTo>
                <a:lnTo>
                  <a:pt x="358140" y="18300"/>
                </a:lnTo>
                <a:lnTo>
                  <a:pt x="342900" y="18300"/>
                </a:lnTo>
                <a:lnTo>
                  <a:pt x="342900" y="7632"/>
                </a:lnTo>
                <a:lnTo>
                  <a:pt x="358140" y="7632"/>
                </a:lnTo>
                <a:lnTo>
                  <a:pt x="358140" y="1536"/>
                </a:lnTo>
                <a:lnTo>
                  <a:pt x="336804" y="1536"/>
                </a:lnTo>
                <a:lnTo>
                  <a:pt x="336804" y="42684"/>
                </a:lnTo>
                <a:lnTo>
                  <a:pt x="359664" y="42684"/>
                </a:lnTo>
                <a:lnTo>
                  <a:pt x="359664" y="36588"/>
                </a:lnTo>
                <a:close/>
              </a:path>
              <a:path w="571500" h="43179">
                <a:moveTo>
                  <a:pt x="399288" y="7620"/>
                </a:moveTo>
                <a:lnTo>
                  <a:pt x="396240" y="1524"/>
                </a:lnTo>
                <a:lnTo>
                  <a:pt x="391668" y="1524"/>
                </a:lnTo>
                <a:lnTo>
                  <a:pt x="391668" y="7620"/>
                </a:lnTo>
                <a:lnTo>
                  <a:pt x="391668" y="15252"/>
                </a:lnTo>
                <a:lnTo>
                  <a:pt x="390144" y="18300"/>
                </a:lnTo>
                <a:lnTo>
                  <a:pt x="381000" y="18300"/>
                </a:lnTo>
                <a:lnTo>
                  <a:pt x="381000" y="7620"/>
                </a:lnTo>
                <a:lnTo>
                  <a:pt x="391668" y="7620"/>
                </a:lnTo>
                <a:lnTo>
                  <a:pt x="391668" y="1524"/>
                </a:lnTo>
                <a:lnTo>
                  <a:pt x="374904" y="1524"/>
                </a:lnTo>
                <a:lnTo>
                  <a:pt x="374904" y="42684"/>
                </a:lnTo>
                <a:lnTo>
                  <a:pt x="381000" y="42684"/>
                </a:lnTo>
                <a:lnTo>
                  <a:pt x="381000" y="24396"/>
                </a:lnTo>
                <a:lnTo>
                  <a:pt x="388620" y="24396"/>
                </a:lnTo>
                <a:lnTo>
                  <a:pt x="390144" y="25920"/>
                </a:lnTo>
                <a:lnTo>
                  <a:pt x="390144" y="28968"/>
                </a:lnTo>
                <a:lnTo>
                  <a:pt x="391668" y="30492"/>
                </a:lnTo>
                <a:lnTo>
                  <a:pt x="391668" y="39636"/>
                </a:lnTo>
                <a:lnTo>
                  <a:pt x="393192" y="41160"/>
                </a:lnTo>
                <a:lnTo>
                  <a:pt x="393192" y="42684"/>
                </a:lnTo>
                <a:lnTo>
                  <a:pt x="399288" y="42684"/>
                </a:lnTo>
                <a:lnTo>
                  <a:pt x="399288" y="38112"/>
                </a:lnTo>
                <a:lnTo>
                  <a:pt x="397764" y="33540"/>
                </a:lnTo>
                <a:lnTo>
                  <a:pt x="397764" y="24396"/>
                </a:lnTo>
                <a:lnTo>
                  <a:pt x="397764" y="22872"/>
                </a:lnTo>
                <a:lnTo>
                  <a:pt x="394716" y="21348"/>
                </a:lnTo>
                <a:lnTo>
                  <a:pt x="397764" y="19824"/>
                </a:lnTo>
                <a:lnTo>
                  <a:pt x="398526" y="18300"/>
                </a:lnTo>
                <a:lnTo>
                  <a:pt x="399288" y="16776"/>
                </a:lnTo>
                <a:lnTo>
                  <a:pt x="399288" y="7620"/>
                </a:lnTo>
                <a:close/>
              </a:path>
              <a:path w="571500" h="43179">
                <a:moveTo>
                  <a:pt x="441947" y="1524"/>
                </a:moveTo>
                <a:lnTo>
                  <a:pt x="435851" y="1524"/>
                </a:lnTo>
                <a:lnTo>
                  <a:pt x="426707" y="33528"/>
                </a:lnTo>
                <a:lnTo>
                  <a:pt x="419087" y="1524"/>
                </a:lnTo>
                <a:lnTo>
                  <a:pt x="411467" y="1524"/>
                </a:lnTo>
                <a:lnTo>
                  <a:pt x="423659" y="42672"/>
                </a:lnTo>
                <a:lnTo>
                  <a:pt x="429755" y="42672"/>
                </a:lnTo>
                <a:lnTo>
                  <a:pt x="441947" y="1524"/>
                </a:lnTo>
                <a:close/>
              </a:path>
              <a:path w="571500" h="43179">
                <a:moveTo>
                  <a:pt x="463296" y="1524"/>
                </a:moveTo>
                <a:lnTo>
                  <a:pt x="455676" y="1524"/>
                </a:lnTo>
                <a:lnTo>
                  <a:pt x="455676" y="42672"/>
                </a:lnTo>
                <a:lnTo>
                  <a:pt x="463296" y="42672"/>
                </a:lnTo>
                <a:lnTo>
                  <a:pt x="463296" y="1524"/>
                </a:lnTo>
                <a:close/>
              </a:path>
              <a:path w="571500" h="43179">
                <a:moveTo>
                  <a:pt x="505955" y="6096"/>
                </a:moveTo>
                <a:lnTo>
                  <a:pt x="502907" y="4572"/>
                </a:lnTo>
                <a:lnTo>
                  <a:pt x="501383" y="1524"/>
                </a:lnTo>
                <a:lnTo>
                  <a:pt x="484619" y="1524"/>
                </a:lnTo>
                <a:lnTo>
                  <a:pt x="481571" y="6096"/>
                </a:lnTo>
                <a:lnTo>
                  <a:pt x="481571" y="42672"/>
                </a:lnTo>
                <a:lnTo>
                  <a:pt x="499859" y="42672"/>
                </a:lnTo>
                <a:lnTo>
                  <a:pt x="502907" y="39624"/>
                </a:lnTo>
                <a:lnTo>
                  <a:pt x="505955" y="38100"/>
                </a:lnTo>
                <a:lnTo>
                  <a:pt x="505955" y="36576"/>
                </a:lnTo>
                <a:lnTo>
                  <a:pt x="505955" y="28956"/>
                </a:lnTo>
                <a:lnTo>
                  <a:pt x="499859" y="28956"/>
                </a:lnTo>
                <a:lnTo>
                  <a:pt x="499859" y="36576"/>
                </a:lnTo>
                <a:lnTo>
                  <a:pt x="487667" y="36576"/>
                </a:lnTo>
                <a:lnTo>
                  <a:pt x="487667" y="12192"/>
                </a:lnTo>
                <a:lnTo>
                  <a:pt x="489191" y="10668"/>
                </a:lnTo>
                <a:lnTo>
                  <a:pt x="489191" y="9144"/>
                </a:lnTo>
                <a:lnTo>
                  <a:pt x="490715" y="7620"/>
                </a:lnTo>
                <a:lnTo>
                  <a:pt x="498335" y="7620"/>
                </a:lnTo>
                <a:lnTo>
                  <a:pt x="498335" y="13716"/>
                </a:lnTo>
                <a:lnTo>
                  <a:pt x="505955" y="13716"/>
                </a:lnTo>
                <a:lnTo>
                  <a:pt x="505955" y="7620"/>
                </a:lnTo>
                <a:lnTo>
                  <a:pt x="505955" y="6096"/>
                </a:lnTo>
                <a:close/>
              </a:path>
              <a:path w="571500" h="43179">
                <a:moveTo>
                  <a:pt x="544068" y="1524"/>
                </a:moveTo>
                <a:lnTo>
                  <a:pt x="522732" y="1524"/>
                </a:lnTo>
                <a:lnTo>
                  <a:pt x="522732" y="42672"/>
                </a:lnTo>
                <a:lnTo>
                  <a:pt x="544068" y="42672"/>
                </a:lnTo>
                <a:lnTo>
                  <a:pt x="544068" y="36576"/>
                </a:lnTo>
                <a:lnTo>
                  <a:pt x="528828" y="36576"/>
                </a:lnTo>
                <a:lnTo>
                  <a:pt x="528828" y="24384"/>
                </a:lnTo>
                <a:lnTo>
                  <a:pt x="542544" y="24384"/>
                </a:lnTo>
                <a:lnTo>
                  <a:pt x="542544" y="18288"/>
                </a:lnTo>
                <a:lnTo>
                  <a:pt x="528828" y="18288"/>
                </a:lnTo>
                <a:lnTo>
                  <a:pt x="528828" y="7620"/>
                </a:lnTo>
                <a:lnTo>
                  <a:pt x="544068" y="7620"/>
                </a:lnTo>
                <a:lnTo>
                  <a:pt x="544068" y="1524"/>
                </a:lnTo>
                <a:close/>
              </a:path>
              <a:path w="571500" h="43179">
                <a:moveTo>
                  <a:pt x="566928" y="4572"/>
                </a:moveTo>
                <a:lnTo>
                  <a:pt x="565404" y="4572"/>
                </a:lnTo>
                <a:lnTo>
                  <a:pt x="565404" y="7620"/>
                </a:lnTo>
                <a:lnTo>
                  <a:pt x="562356" y="7620"/>
                </a:lnTo>
                <a:lnTo>
                  <a:pt x="562356" y="4572"/>
                </a:lnTo>
                <a:lnTo>
                  <a:pt x="560832" y="4572"/>
                </a:lnTo>
                <a:lnTo>
                  <a:pt x="560832" y="13716"/>
                </a:lnTo>
                <a:lnTo>
                  <a:pt x="562356" y="13716"/>
                </a:lnTo>
                <a:lnTo>
                  <a:pt x="562356" y="9144"/>
                </a:lnTo>
                <a:lnTo>
                  <a:pt x="565404" y="9144"/>
                </a:lnTo>
                <a:lnTo>
                  <a:pt x="565404" y="13716"/>
                </a:lnTo>
                <a:lnTo>
                  <a:pt x="566928" y="13716"/>
                </a:lnTo>
                <a:lnTo>
                  <a:pt x="566928" y="9144"/>
                </a:lnTo>
                <a:lnTo>
                  <a:pt x="566928" y="7620"/>
                </a:lnTo>
                <a:lnTo>
                  <a:pt x="566928" y="4572"/>
                </a:lnTo>
                <a:close/>
              </a:path>
              <a:path w="571500" h="43179">
                <a:moveTo>
                  <a:pt x="571500" y="12192"/>
                </a:moveTo>
                <a:lnTo>
                  <a:pt x="568452" y="16764"/>
                </a:lnTo>
                <a:lnTo>
                  <a:pt x="571500" y="13716"/>
                </a:lnTo>
                <a:lnTo>
                  <a:pt x="571500" y="12192"/>
                </a:lnTo>
                <a:close/>
              </a:path>
              <a:path w="571500" h="43179">
                <a:moveTo>
                  <a:pt x="571500" y="4572"/>
                </a:moveTo>
                <a:lnTo>
                  <a:pt x="569468" y="1524"/>
                </a:lnTo>
                <a:lnTo>
                  <a:pt x="568452" y="0"/>
                </a:lnTo>
                <a:lnTo>
                  <a:pt x="559308" y="0"/>
                </a:lnTo>
                <a:lnTo>
                  <a:pt x="554736" y="4572"/>
                </a:lnTo>
                <a:lnTo>
                  <a:pt x="554736" y="13716"/>
                </a:lnTo>
                <a:lnTo>
                  <a:pt x="559308" y="16764"/>
                </a:lnTo>
                <a:lnTo>
                  <a:pt x="556260" y="12192"/>
                </a:lnTo>
                <a:lnTo>
                  <a:pt x="556260" y="4572"/>
                </a:lnTo>
                <a:lnTo>
                  <a:pt x="559308" y="1524"/>
                </a:lnTo>
                <a:lnTo>
                  <a:pt x="568452" y="1524"/>
                </a:lnTo>
                <a:lnTo>
                  <a:pt x="571500" y="4572"/>
                </a:lnTo>
                <a:close/>
              </a:path>
            </a:pathLst>
          </a:custGeom>
          <a:solidFill>
            <a:srgbClr val="007EA3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9" name="bg object 19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9066276" y="6269735"/>
            <a:ext cx="207263" cy="207264"/>
          </a:xfrm>
          <a:prstGeom prst="rect">
            <a:avLst/>
          </a:prstGeom>
        </p:spPr>
      </p:pic>
      <p:sp>
        <p:nvSpPr>
          <p:cNvPr id="20" name="bg object 20"/>
          <p:cNvSpPr/>
          <p:nvPr/>
        </p:nvSpPr>
        <p:spPr>
          <a:xfrm>
            <a:off x="9313164" y="6188964"/>
            <a:ext cx="166370" cy="288290"/>
          </a:xfrm>
          <a:custGeom>
            <a:avLst/>
            <a:gdLst/>
            <a:ahLst/>
            <a:cxnLst/>
            <a:rect l="l" t="t" r="r" b="b"/>
            <a:pathLst>
              <a:path w="166370" h="288289">
                <a:moveTo>
                  <a:pt x="166116" y="288035"/>
                </a:moveTo>
                <a:lnTo>
                  <a:pt x="0" y="205739"/>
                </a:lnTo>
                <a:lnTo>
                  <a:pt x="0" y="0"/>
                </a:lnTo>
                <a:lnTo>
                  <a:pt x="166116" y="80771"/>
                </a:lnTo>
                <a:lnTo>
                  <a:pt x="166116" y="288035"/>
                </a:lnTo>
                <a:close/>
              </a:path>
            </a:pathLst>
          </a:custGeom>
          <a:solidFill>
            <a:srgbClr val="007EA3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1" name="bg object 21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9351930" y="6244494"/>
            <a:ext cx="87058" cy="175450"/>
          </a:xfrm>
          <a:prstGeom prst="rect">
            <a:avLst/>
          </a:prstGeom>
        </p:spPr>
      </p:pic>
      <p:pic>
        <p:nvPicPr>
          <p:cNvPr id="22" name="bg object 22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9499092" y="6269735"/>
            <a:ext cx="208787" cy="207264"/>
          </a:xfrm>
          <a:prstGeom prst="rect">
            <a:avLst/>
          </a:prstGeom>
        </p:spPr>
      </p:pic>
      <p:pic>
        <p:nvPicPr>
          <p:cNvPr id="23" name="bg object 23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7735823" y="6219444"/>
            <a:ext cx="1110995" cy="333755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19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50" b="0" i="0">
                <a:solidFill>
                  <a:srgbClr val="AFAAAA"/>
                </a:solidFill>
                <a:latin typeface="Arial"/>
                <a:cs typeface="Arial"/>
              </a:defRPr>
            </a:lvl1pPr>
          </a:lstStyle>
          <a:p>
            <a:pPr marL="39370">
              <a:lnSpc>
                <a:spcPct val="100000"/>
              </a:lnSpc>
              <a:spcBef>
                <a:spcPts val="35"/>
              </a:spcBef>
            </a:pPr>
            <a:fld id="{81D60167-4931-47E6-BA6A-407CBD079E47}" type="slidenum">
              <a:rPr spc="-5" dirty="0"/>
              <a:t>‹#›</a:t>
            </a:fld>
            <a:endParaRPr spc="-5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stat">
  <p:cSld name="Big stat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16"/>
          <p:cNvSpPr/>
          <p:nvPr/>
        </p:nvSpPr>
        <p:spPr>
          <a:xfrm>
            <a:off x="334098" y="398254"/>
            <a:ext cx="9372660" cy="6975893"/>
          </a:xfrm>
          <a:prstGeom prst="round1Rect">
            <a:avLst>
              <a:gd name="adj" fmla="val 50000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00568" tIns="100568" rIns="100568" bIns="1005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980"/>
          </a:p>
        </p:txBody>
      </p:sp>
      <p:sp>
        <p:nvSpPr>
          <p:cNvPr id="94" name="Google Shape;94;p16"/>
          <p:cNvSpPr txBox="1">
            <a:spLocks noGrp="1"/>
          </p:cNvSpPr>
          <p:nvPr>
            <p:ph type="title" hasCustomPrompt="1"/>
          </p:nvPr>
        </p:nvSpPr>
        <p:spPr>
          <a:xfrm>
            <a:off x="712470" y="1671477"/>
            <a:ext cx="8633460" cy="296706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2000"/>
              <a:buFont typeface="Source Serif Pro"/>
              <a:buNone/>
              <a:defRPr sz="13200">
                <a:solidFill>
                  <a:schemeClr val="accent2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0"/>
              <a:buFont typeface="Source Serif Pro"/>
              <a:buNone/>
              <a:defRPr sz="13200">
                <a:solidFill>
                  <a:schemeClr val="lt1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0"/>
              <a:buFont typeface="Source Serif Pro"/>
              <a:buNone/>
              <a:defRPr sz="13200">
                <a:solidFill>
                  <a:schemeClr val="lt1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0"/>
              <a:buFont typeface="Source Serif Pro"/>
              <a:buNone/>
              <a:defRPr sz="13200">
                <a:solidFill>
                  <a:schemeClr val="lt1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0"/>
              <a:buFont typeface="Source Serif Pro"/>
              <a:buNone/>
              <a:defRPr sz="13200">
                <a:solidFill>
                  <a:schemeClr val="lt1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0"/>
              <a:buFont typeface="Source Serif Pro"/>
              <a:buNone/>
              <a:defRPr sz="13200">
                <a:solidFill>
                  <a:schemeClr val="lt1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0"/>
              <a:buFont typeface="Source Serif Pro"/>
              <a:buNone/>
              <a:defRPr sz="13200">
                <a:solidFill>
                  <a:schemeClr val="lt1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0"/>
              <a:buFont typeface="Source Serif Pro"/>
              <a:buNone/>
              <a:defRPr sz="13200">
                <a:solidFill>
                  <a:schemeClr val="lt1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0"/>
              <a:buFont typeface="Source Serif Pro"/>
              <a:buNone/>
              <a:defRPr sz="13200">
                <a:solidFill>
                  <a:schemeClr val="lt1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9pPr>
          </a:lstStyle>
          <a:p>
            <a:r>
              <a:t>xx%</a:t>
            </a:r>
          </a:p>
        </p:txBody>
      </p:sp>
      <p:sp>
        <p:nvSpPr>
          <p:cNvPr id="95" name="Google Shape;95;p16"/>
          <p:cNvSpPr txBox="1">
            <a:spLocks noGrp="1"/>
          </p:cNvSpPr>
          <p:nvPr>
            <p:ph type="sldNum" idx="12"/>
          </p:nvPr>
        </p:nvSpPr>
        <p:spPr>
          <a:xfrm>
            <a:off x="6573930" y="6816357"/>
            <a:ext cx="3090780" cy="527227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880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lvl="1" rtl="0">
              <a:buNone/>
              <a:defRPr sz="880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lvl="2" rtl="0">
              <a:buNone/>
              <a:defRPr sz="880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lvl="3" rtl="0">
              <a:buNone/>
              <a:defRPr sz="880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lvl="4" rtl="0">
              <a:buNone/>
              <a:defRPr sz="880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lvl="5" rtl="0">
              <a:buNone/>
              <a:defRPr sz="880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lvl="6" rtl="0">
              <a:buNone/>
              <a:defRPr sz="880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lvl="7" rtl="0">
              <a:buNone/>
              <a:defRPr sz="880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lvl="8" rtl="0">
              <a:buNone/>
              <a:defRPr sz="880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pPr algn="r"/>
            <a:r>
              <a:rPr lang="en-US"/>
              <a:t>© 2012-2020 Credly, Inc | Proprietary and Confidential | </a:t>
            </a:r>
            <a:fld id="{00000000-1234-1234-1234-123412341234}" type="slidenum">
              <a:rPr lang="en-US" smtClean="0">
                <a:solidFill>
                  <a:schemeClr val="accent1"/>
                </a:solidFill>
              </a:rPr>
              <a:pPr algn="r"/>
              <a:t>‹#›</a:t>
            </a:fld>
            <a:endParaRPr lang="en-US">
              <a:solidFill>
                <a:schemeClr val="accent1"/>
              </a:solidFill>
            </a:endParaRPr>
          </a:p>
        </p:txBody>
      </p:sp>
      <p:sp>
        <p:nvSpPr>
          <p:cNvPr id="96" name="Google Shape;96;p16"/>
          <p:cNvSpPr txBox="1">
            <a:spLocks noGrp="1"/>
          </p:cNvSpPr>
          <p:nvPr>
            <p:ph type="body" idx="1"/>
          </p:nvPr>
        </p:nvSpPr>
        <p:spPr>
          <a:xfrm>
            <a:off x="712470" y="4621431"/>
            <a:ext cx="8841360" cy="228253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502920" lvl="0" indent="-36322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Proxima Nova"/>
              <a:buChar char="▫"/>
              <a:defRPr sz="1760">
                <a:latin typeface="Proxima Nova"/>
                <a:ea typeface="Proxima Nova"/>
                <a:cs typeface="Proxima Nova"/>
                <a:sym typeface="Proxima Nova"/>
              </a:defRPr>
            </a:lvl1pPr>
            <a:lvl2pPr marL="1005840" lvl="1" indent="-342265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300"/>
              <a:buFont typeface="Proxima Nova"/>
              <a:buChar char="⎼"/>
              <a:defRPr sz="1430">
                <a:latin typeface="Proxima Nova"/>
                <a:ea typeface="Proxima Nova"/>
                <a:cs typeface="Proxima Nova"/>
                <a:sym typeface="Proxima Nova"/>
              </a:defRPr>
            </a:lvl2pPr>
            <a:lvl3pPr marL="1508760" lvl="2" indent="-328295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▫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3pPr>
            <a:lvl4pPr marL="2011680" lvl="3" indent="-328295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⎼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4pPr>
            <a:lvl5pPr marL="2514600" lvl="4" indent="-328295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▫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5pPr>
            <a:lvl6pPr marL="3017520" lvl="5" indent="-328295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⎼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6pPr>
            <a:lvl7pPr marL="3520440" lvl="6" indent="-328295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▫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7pPr>
            <a:lvl8pPr marL="4023360" lvl="7" indent="-328295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⎼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8pPr>
            <a:lvl9pPr marL="4526280" lvl="8" indent="-328295" rtl="0">
              <a:lnSpc>
                <a:spcPct val="100000"/>
              </a:lnSpc>
              <a:spcBef>
                <a:spcPts val="1100"/>
              </a:spcBef>
              <a:spcAft>
                <a:spcPts val="1100"/>
              </a:spcAft>
              <a:buSzPts val="1100"/>
              <a:buFont typeface="Proxima Nova"/>
              <a:buChar char="▫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408884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3 col body 1">
  <p:cSld name="Title and 3 col body 1"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20"/>
          <p:cNvSpPr txBox="1">
            <a:spLocks noGrp="1"/>
          </p:cNvSpPr>
          <p:nvPr>
            <p:ph type="title"/>
          </p:nvPr>
        </p:nvSpPr>
        <p:spPr>
          <a:xfrm>
            <a:off x="342870" y="672483"/>
            <a:ext cx="9372660" cy="86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500"/>
              <a:buFont typeface="Source Serif Pro"/>
              <a:buNone/>
              <a:defRPr sz="2750">
                <a:solidFill>
                  <a:schemeClr val="accent2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300"/>
              <a:buFont typeface="Source Serif Pro"/>
              <a:buNone/>
              <a:defRPr sz="2530">
                <a:latin typeface="Source Serif Pro"/>
                <a:ea typeface="Source Serif Pro"/>
                <a:cs typeface="Source Serif Pro"/>
                <a:sym typeface="Source Serif Pro"/>
              </a:defRPr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300"/>
              <a:buFont typeface="Source Serif Pro"/>
              <a:buNone/>
              <a:defRPr sz="2530">
                <a:latin typeface="Source Serif Pro"/>
                <a:ea typeface="Source Serif Pro"/>
                <a:cs typeface="Source Serif Pro"/>
                <a:sym typeface="Source Serif Pro"/>
              </a:defRPr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300"/>
              <a:buFont typeface="Source Serif Pro"/>
              <a:buNone/>
              <a:defRPr sz="2530">
                <a:latin typeface="Source Serif Pro"/>
                <a:ea typeface="Source Serif Pro"/>
                <a:cs typeface="Source Serif Pro"/>
                <a:sym typeface="Source Serif Pro"/>
              </a:defRPr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300"/>
              <a:buFont typeface="Source Serif Pro"/>
              <a:buNone/>
              <a:defRPr sz="2530">
                <a:latin typeface="Source Serif Pro"/>
                <a:ea typeface="Source Serif Pro"/>
                <a:cs typeface="Source Serif Pro"/>
                <a:sym typeface="Source Serif Pro"/>
              </a:defRPr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300"/>
              <a:buFont typeface="Source Serif Pro"/>
              <a:buNone/>
              <a:defRPr sz="2530">
                <a:latin typeface="Source Serif Pro"/>
                <a:ea typeface="Source Serif Pro"/>
                <a:cs typeface="Source Serif Pro"/>
                <a:sym typeface="Source Serif Pro"/>
              </a:defRPr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300"/>
              <a:buFont typeface="Source Serif Pro"/>
              <a:buNone/>
              <a:defRPr sz="2530">
                <a:latin typeface="Source Serif Pro"/>
                <a:ea typeface="Source Serif Pro"/>
                <a:cs typeface="Source Serif Pro"/>
                <a:sym typeface="Source Serif Pro"/>
              </a:defRPr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300"/>
              <a:buFont typeface="Source Serif Pro"/>
              <a:buNone/>
              <a:defRPr sz="2530">
                <a:latin typeface="Source Serif Pro"/>
                <a:ea typeface="Source Serif Pro"/>
                <a:cs typeface="Source Serif Pro"/>
                <a:sym typeface="Source Serif Pro"/>
              </a:defRPr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300"/>
              <a:buFont typeface="Source Serif Pro"/>
              <a:buNone/>
              <a:defRPr sz="2530">
                <a:latin typeface="Source Serif Pro"/>
                <a:ea typeface="Source Serif Pro"/>
                <a:cs typeface="Source Serif Pro"/>
                <a:sym typeface="Source Serif Pro"/>
              </a:defRPr>
            </a:lvl9pPr>
          </a:lstStyle>
          <a:p>
            <a:endParaRPr/>
          </a:p>
        </p:txBody>
      </p:sp>
      <p:sp>
        <p:nvSpPr>
          <p:cNvPr id="115" name="Google Shape;115;p20"/>
          <p:cNvSpPr txBox="1">
            <a:spLocks noGrp="1"/>
          </p:cNvSpPr>
          <p:nvPr>
            <p:ph type="sldNum" idx="12"/>
          </p:nvPr>
        </p:nvSpPr>
        <p:spPr>
          <a:xfrm>
            <a:off x="6573930" y="7046651"/>
            <a:ext cx="3090780" cy="5272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80" b="0" i="0" u="none" strike="noStrike" cap="none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80" b="0" i="0" u="none" strike="noStrike" cap="none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80" b="0" i="0" u="none" strike="noStrike" cap="none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80" b="0" i="0" u="none" strike="noStrike" cap="none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80" b="0" i="0" u="none" strike="noStrike" cap="none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80" b="0" i="0" u="none" strike="noStrike" cap="none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80" b="0" i="0" u="none" strike="noStrike" cap="none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80" b="0" i="0" u="none" strike="noStrike" cap="none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80" b="0" i="0" u="none" strike="noStrike" cap="none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r>
              <a:rPr lang="en-US"/>
              <a:t>© 2012-2020 Credly, Inc | Proprietary and Confidential | </a:t>
            </a:r>
            <a:fld id="{00000000-1234-1234-1234-123412341234}" type="slidenum">
              <a:rPr lang="en-US" smtClean="0">
                <a:solidFill>
                  <a:schemeClr val="accent1"/>
                </a:solidFill>
              </a:rPr>
              <a:pPr/>
              <a:t>‹#›</a:t>
            </a:fld>
            <a:endParaRPr lang="en-US">
              <a:solidFill>
                <a:schemeClr val="accent1"/>
              </a:solidFill>
            </a:endParaRPr>
          </a:p>
        </p:txBody>
      </p:sp>
      <p:pic>
        <p:nvPicPr>
          <p:cNvPr id="116" name="Google Shape;116;p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50534" y="7074476"/>
            <a:ext cx="477364" cy="326911"/>
          </a:xfrm>
          <a:prstGeom prst="rect">
            <a:avLst/>
          </a:prstGeom>
          <a:noFill/>
          <a:ln>
            <a:noFill/>
          </a:ln>
        </p:spPr>
      </p:pic>
      <p:sp>
        <p:nvSpPr>
          <p:cNvPr id="117" name="Google Shape;117;p20"/>
          <p:cNvSpPr txBox="1">
            <a:spLocks noGrp="1"/>
          </p:cNvSpPr>
          <p:nvPr>
            <p:ph type="subTitle" idx="1"/>
          </p:nvPr>
        </p:nvSpPr>
        <p:spPr>
          <a:xfrm>
            <a:off x="342870" y="1391620"/>
            <a:ext cx="9265080" cy="5272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320">
                <a:latin typeface="Proxima Nova"/>
                <a:ea typeface="Proxima Nova"/>
                <a:cs typeface="Proxima Nova"/>
                <a:sym typeface="Proxima Nova"/>
              </a:defRPr>
            </a:lvl1pPr>
            <a:lvl2pPr lvl="1" algn="l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200"/>
              <a:buNone/>
              <a:defRPr sz="1320">
                <a:latin typeface="Proxima Nova"/>
                <a:ea typeface="Proxima Nova"/>
                <a:cs typeface="Proxima Nova"/>
                <a:sym typeface="Proxima Nova"/>
              </a:defRPr>
            </a:lvl2pPr>
            <a:lvl3pPr lvl="2" algn="l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200"/>
              <a:buNone/>
              <a:defRPr sz="1320">
                <a:latin typeface="Proxima Nova"/>
                <a:ea typeface="Proxima Nova"/>
                <a:cs typeface="Proxima Nova"/>
                <a:sym typeface="Proxima Nova"/>
              </a:defRPr>
            </a:lvl3pPr>
            <a:lvl4pPr lvl="3" algn="l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200"/>
              <a:buNone/>
              <a:defRPr sz="1320">
                <a:latin typeface="Proxima Nova"/>
                <a:ea typeface="Proxima Nova"/>
                <a:cs typeface="Proxima Nova"/>
                <a:sym typeface="Proxima Nova"/>
              </a:defRPr>
            </a:lvl4pPr>
            <a:lvl5pPr lvl="4" algn="l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200"/>
              <a:buNone/>
              <a:defRPr sz="1320">
                <a:latin typeface="Proxima Nova"/>
                <a:ea typeface="Proxima Nova"/>
                <a:cs typeface="Proxima Nova"/>
                <a:sym typeface="Proxima Nova"/>
              </a:defRPr>
            </a:lvl5pPr>
            <a:lvl6pPr lvl="5" algn="l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200"/>
              <a:buNone/>
              <a:defRPr sz="1320">
                <a:latin typeface="Proxima Nova"/>
                <a:ea typeface="Proxima Nova"/>
                <a:cs typeface="Proxima Nova"/>
                <a:sym typeface="Proxima Nova"/>
              </a:defRPr>
            </a:lvl6pPr>
            <a:lvl7pPr lvl="6" algn="l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200"/>
              <a:buNone/>
              <a:defRPr sz="1320">
                <a:latin typeface="Proxima Nova"/>
                <a:ea typeface="Proxima Nova"/>
                <a:cs typeface="Proxima Nova"/>
                <a:sym typeface="Proxima Nova"/>
              </a:defRPr>
            </a:lvl7pPr>
            <a:lvl8pPr lvl="7" algn="l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200"/>
              <a:buNone/>
              <a:defRPr sz="1320">
                <a:latin typeface="Proxima Nova"/>
                <a:ea typeface="Proxima Nova"/>
                <a:cs typeface="Proxima Nova"/>
                <a:sym typeface="Proxima Nova"/>
              </a:defRPr>
            </a:lvl8pPr>
            <a:lvl9pPr lvl="8" algn="l" rtl="0">
              <a:lnSpc>
                <a:spcPct val="100000"/>
              </a:lnSpc>
              <a:spcBef>
                <a:spcPts val="1100"/>
              </a:spcBef>
              <a:spcAft>
                <a:spcPts val="1100"/>
              </a:spcAft>
              <a:buSzPts val="1200"/>
              <a:buNone/>
              <a:defRPr sz="1320"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endParaRPr/>
          </a:p>
        </p:txBody>
      </p:sp>
      <p:sp>
        <p:nvSpPr>
          <p:cNvPr id="118" name="Google Shape;118;p20"/>
          <p:cNvSpPr txBox="1">
            <a:spLocks noGrp="1"/>
          </p:cNvSpPr>
          <p:nvPr>
            <p:ph type="body" idx="2"/>
          </p:nvPr>
        </p:nvSpPr>
        <p:spPr>
          <a:xfrm>
            <a:off x="450533" y="4103044"/>
            <a:ext cx="2766060" cy="28011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502920" lvl="0" indent="-36322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Proxima Nova"/>
              <a:buChar char="▫"/>
              <a:defRPr sz="1760">
                <a:latin typeface="Proxima Nova"/>
                <a:ea typeface="Proxima Nova"/>
                <a:cs typeface="Proxima Nova"/>
                <a:sym typeface="Proxima Nova"/>
              </a:defRPr>
            </a:lvl1pPr>
            <a:lvl2pPr marL="1005840" lvl="1" indent="-342265" algn="l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300"/>
              <a:buFont typeface="Proxima Nova"/>
              <a:buChar char="⎼"/>
              <a:defRPr sz="1430">
                <a:latin typeface="Proxima Nova"/>
                <a:ea typeface="Proxima Nova"/>
                <a:cs typeface="Proxima Nova"/>
                <a:sym typeface="Proxima Nova"/>
              </a:defRPr>
            </a:lvl2pPr>
            <a:lvl3pPr marL="1508760" lvl="2" indent="-328295" algn="l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▫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3pPr>
            <a:lvl4pPr marL="2011680" lvl="3" indent="-328295" algn="l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⎼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4pPr>
            <a:lvl5pPr marL="2514600" lvl="4" indent="-328295" algn="l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▫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5pPr>
            <a:lvl6pPr marL="3017520" lvl="5" indent="-328295" algn="l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⎼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6pPr>
            <a:lvl7pPr marL="3520440" lvl="6" indent="-328295" algn="l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▫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7pPr>
            <a:lvl8pPr marL="4023360" lvl="7" indent="-328295" algn="l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⎼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8pPr>
            <a:lvl9pPr marL="4526280" lvl="8" indent="-328295" algn="l" rtl="0">
              <a:lnSpc>
                <a:spcPct val="100000"/>
              </a:lnSpc>
              <a:spcBef>
                <a:spcPts val="1100"/>
              </a:spcBef>
              <a:spcAft>
                <a:spcPts val="1100"/>
              </a:spcAft>
              <a:buSzPts val="1100"/>
              <a:buFont typeface="Proxima Nova"/>
              <a:buChar char="▫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endParaRPr/>
          </a:p>
        </p:txBody>
      </p:sp>
      <p:sp>
        <p:nvSpPr>
          <p:cNvPr id="119" name="Google Shape;119;p20"/>
          <p:cNvSpPr txBox="1">
            <a:spLocks noGrp="1"/>
          </p:cNvSpPr>
          <p:nvPr>
            <p:ph type="body" idx="3"/>
          </p:nvPr>
        </p:nvSpPr>
        <p:spPr>
          <a:xfrm>
            <a:off x="6841808" y="4103044"/>
            <a:ext cx="2766060" cy="2799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502920" lvl="0" indent="-36322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Proxima Nova"/>
              <a:buChar char="▫"/>
              <a:defRPr sz="1760">
                <a:latin typeface="Proxima Nova"/>
                <a:ea typeface="Proxima Nova"/>
                <a:cs typeface="Proxima Nova"/>
                <a:sym typeface="Proxima Nova"/>
              </a:defRPr>
            </a:lvl1pPr>
            <a:lvl2pPr marL="1005840" lvl="1" indent="-342265" algn="l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300"/>
              <a:buFont typeface="Proxima Nova"/>
              <a:buChar char="⎼"/>
              <a:defRPr sz="1430">
                <a:latin typeface="Proxima Nova"/>
                <a:ea typeface="Proxima Nova"/>
                <a:cs typeface="Proxima Nova"/>
                <a:sym typeface="Proxima Nova"/>
              </a:defRPr>
            </a:lvl2pPr>
            <a:lvl3pPr marL="1508760" lvl="2" indent="-328295" algn="l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▫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3pPr>
            <a:lvl4pPr marL="2011680" lvl="3" indent="-328295" algn="l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⎼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4pPr>
            <a:lvl5pPr marL="2514600" lvl="4" indent="-328295" algn="l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▫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5pPr>
            <a:lvl6pPr marL="3017520" lvl="5" indent="-328295" algn="l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⎼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6pPr>
            <a:lvl7pPr marL="3520440" lvl="6" indent="-328295" algn="l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▫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7pPr>
            <a:lvl8pPr marL="4023360" lvl="7" indent="-328295" algn="l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⎼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8pPr>
            <a:lvl9pPr marL="4526280" lvl="8" indent="-328295" algn="l" rtl="0">
              <a:lnSpc>
                <a:spcPct val="100000"/>
              </a:lnSpc>
              <a:spcBef>
                <a:spcPts val="1100"/>
              </a:spcBef>
              <a:spcAft>
                <a:spcPts val="1100"/>
              </a:spcAft>
              <a:buSzPts val="1100"/>
              <a:buFont typeface="Proxima Nova"/>
              <a:buChar char="▫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endParaRPr/>
          </a:p>
        </p:txBody>
      </p:sp>
      <p:sp>
        <p:nvSpPr>
          <p:cNvPr id="120" name="Google Shape;120;p20"/>
          <p:cNvSpPr txBox="1">
            <a:spLocks noGrp="1"/>
          </p:cNvSpPr>
          <p:nvPr>
            <p:ph type="body" idx="4"/>
          </p:nvPr>
        </p:nvSpPr>
        <p:spPr>
          <a:xfrm>
            <a:off x="3646170" y="4103044"/>
            <a:ext cx="2766060" cy="28011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502920" lvl="0" indent="-36322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Proxima Nova"/>
              <a:buChar char="▫"/>
              <a:defRPr sz="1760">
                <a:latin typeface="Proxima Nova"/>
                <a:ea typeface="Proxima Nova"/>
                <a:cs typeface="Proxima Nova"/>
                <a:sym typeface="Proxima Nova"/>
              </a:defRPr>
            </a:lvl1pPr>
            <a:lvl2pPr marL="1005840" lvl="1" indent="-342265" algn="l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300"/>
              <a:buFont typeface="Proxima Nova"/>
              <a:buChar char="⎼"/>
              <a:defRPr sz="1430">
                <a:latin typeface="Proxima Nova"/>
                <a:ea typeface="Proxima Nova"/>
                <a:cs typeface="Proxima Nova"/>
                <a:sym typeface="Proxima Nova"/>
              </a:defRPr>
            </a:lvl2pPr>
            <a:lvl3pPr marL="1508760" lvl="2" indent="-328295" algn="l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▫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3pPr>
            <a:lvl4pPr marL="2011680" lvl="3" indent="-328295" algn="l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⎼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4pPr>
            <a:lvl5pPr marL="2514600" lvl="4" indent="-328295" algn="l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▫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5pPr>
            <a:lvl6pPr marL="3017520" lvl="5" indent="-328295" algn="l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⎼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6pPr>
            <a:lvl7pPr marL="3520440" lvl="6" indent="-328295" algn="l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▫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7pPr>
            <a:lvl8pPr marL="4023360" lvl="7" indent="-328295" algn="l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⎼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8pPr>
            <a:lvl9pPr marL="4526280" lvl="8" indent="-328295" algn="l" rtl="0">
              <a:lnSpc>
                <a:spcPct val="100000"/>
              </a:lnSpc>
              <a:spcBef>
                <a:spcPts val="1100"/>
              </a:spcBef>
              <a:spcAft>
                <a:spcPts val="1100"/>
              </a:spcAft>
              <a:buSzPts val="1100"/>
              <a:buFont typeface="Proxima Nova"/>
              <a:buChar char="▫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67504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8">
          <p15:clr>
            <a:srgbClr val="FA7B17"/>
          </p15:clr>
        </p15:guide>
        <p15:guide id="2" orient="horz" pos="3085">
          <p15:clr>
            <a:srgbClr val="FA7B17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13"/>
          <p:cNvSpPr txBox="1">
            <a:spLocks noGrp="1"/>
          </p:cNvSpPr>
          <p:nvPr>
            <p:ph type="title"/>
          </p:nvPr>
        </p:nvSpPr>
        <p:spPr>
          <a:xfrm>
            <a:off x="342870" y="672483"/>
            <a:ext cx="9372660" cy="86541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500"/>
              <a:buFont typeface="Source Serif Pro"/>
              <a:buNone/>
              <a:defRPr sz="2750">
                <a:solidFill>
                  <a:schemeClr val="accent2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300"/>
              <a:buFont typeface="Source Serif Pro"/>
              <a:buNone/>
              <a:defRPr sz="2530">
                <a:latin typeface="Source Serif Pro"/>
                <a:ea typeface="Source Serif Pro"/>
                <a:cs typeface="Source Serif Pro"/>
                <a:sym typeface="Source Serif Pr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300"/>
              <a:buFont typeface="Source Serif Pro"/>
              <a:buNone/>
              <a:defRPr sz="2530">
                <a:latin typeface="Source Serif Pro"/>
                <a:ea typeface="Source Serif Pro"/>
                <a:cs typeface="Source Serif Pro"/>
                <a:sym typeface="Source Serif Pr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300"/>
              <a:buFont typeface="Source Serif Pro"/>
              <a:buNone/>
              <a:defRPr sz="2530">
                <a:latin typeface="Source Serif Pro"/>
                <a:ea typeface="Source Serif Pro"/>
                <a:cs typeface="Source Serif Pro"/>
                <a:sym typeface="Source Serif Pr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300"/>
              <a:buFont typeface="Source Serif Pro"/>
              <a:buNone/>
              <a:defRPr sz="2530">
                <a:latin typeface="Source Serif Pro"/>
                <a:ea typeface="Source Serif Pro"/>
                <a:cs typeface="Source Serif Pro"/>
                <a:sym typeface="Source Serif Pr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300"/>
              <a:buFont typeface="Source Serif Pro"/>
              <a:buNone/>
              <a:defRPr sz="2530">
                <a:latin typeface="Source Serif Pro"/>
                <a:ea typeface="Source Serif Pro"/>
                <a:cs typeface="Source Serif Pro"/>
                <a:sym typeface="Source Serif Pr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300"/>
              <a:buFont typeface="Source Serif Pro"/>
              <a:buNone/>
              <a:defRPr sz="2530">
                <a:latin typeface="Source Serif Pro"/>
                <a:ea typeface="Source Serif Pro"/>
                <a:cs typeface="Source Serif Pro"/>
                <a:sym typeface="Source Serif Pr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300"/>
              <a:buFont typeface="Source Serif Pro"/>
              <a:buNone/>
              <a:defRPr sz="2530">
                <a:latin typeface="Source Serif Pro"/>
                <a:ea typeface="Source Serif Pro"/>
                <a:cs typeface="Source Serif Pro"/>
                <a:sym typeface="Source Serif Pr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300"/>
              <a:buFont typeface="Source Serif Pro"/>
              <a:buNone/>
              <a:defRPr sz="2530">
                <a:latin typeface="Source Serif Pro"/>
                <a:ea typeface="Source Serif Pro"/>
                <a:cs typeface="Source Serif Pro"/>
                <a:sym typeface="Source Serif Pro"/>
              </a:defRPr>
            </a:lvl9pPr>
          </a:lstStyle>
          <a:p>
            <a:endParaRPr/>
          </a:p>
        </p:txBody>
      </p:sp>
      <p:sp>
        <p:nvSpPr>
          <p:cNvPr id="78" name="Google Shape;78;p13"/>
          <p:cNvSpPr txBox="1">
            <a:spLocks noGrp="1"/>
          </p:cNvSpPr>
          <p:nvPr>
            <p:ph type="sldNum" idx="12"/>
          </p:nvPr>
        </p:nvSpPr>
        <p:spPr>
          <a:xfrm>
            <a:off x="6573930" y="7046651"/>
            <a:ext cx="3090780" cy="527227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880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lvl="1" rtl="0">
              <a:buNone/>
              <a:defRPr sz="880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lvl="2" rtl="0">
              <a:buNone/>
              <a:defRPr sz="880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lvl="3" rtl="0">
              <a:buNone/>
              <a:defRPr sz="880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lvl="4" rtl="0">
              <a:buNone/>
              <a:defRPr sz="880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lvl="5" rtl="0">
              <a:buNone/>
              <a:defRPr sz="880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lvl="6" rtl="0">
              <a:buNone/>
              <a:defRPr sz="880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lvl="7" rtl="0">
              <a:buNone/>
              <a:defRPr sz="880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lvl="8" rtl="0">
              <a:buNone/>
              <a:defRPr sz="880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pPr algn="r"/>
            <a:r>
              <a:rPr lang="en-US"/>
              <a:t>© 2012-2020 Credly, Inc | Proprietary and Confidential | </a:t>
            </a:r>
            <a:fld id="{00000000-1234-1234-1234-123412341234}" type="slidenum">
              <a:rPr lang="en-US" smtClean="0">
                <a:solidFill>
                  <a:schemeClr val="accent1"/>
                </a:solidFill>
              </a:rPr>
              <a:pPr algn="r"/>
              <a:t>‹#›</a:t>
            </a:fld>
            <a:endParaRPr lang="en-US">
              <a:solidFill>
                <a:schemeClr val="accent1"/>
              </a:solidFill>
            </a:endParaRPr>
          </a:p>
        </p:txBody>
      </p:sp>
      <p:pic>
        <p:nvPicPr>
          <p:cNvPr id="79" name="Google Shape;79;p1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450534" y="7074476"/>
            <a:ext cx="477364" cy="32691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955060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3 col body">
  <p:cSld name="Title and 3 col body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11"/>
          <p:cNvSpPr txBox="1">
            <a:spLocks noGrp="1"/>
          </p:cNvSpPr>
          <p:nvPr>
            <p:ph type="title"/>
          </p:nvPr>
        </p:nvSpPr>
        <p:spPr>
          <a:xfrm>
            <a:off x="342870" y="672483"/>
            <a:ext cx="9372660" cy="86541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500"/>
              <a:buFont typeface="Source Serif Pro"/>
              <a:buNone/>
              <a:defRPr sz="2750">
                <a:solidFill>
                  <a:schemeClr val="accent2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300"/>
              <a:buFont typeface="Source Serif Pro"/>
              <a:buNone/>
              <a:defRPr sz="2530">
                <a:latin typeface="Source Serif Pro"/>
                <a:ea typeface="Source Serif Pro"/>
                <a:cs typeface="Source Serif Pro"/>
                <a:sym typeface="Source Serif Pr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300"/>
              <a:buFont typeface="Source Serif Pro"/>
              <a:buNone/>
              <a:defRPr sz="2530">
                <a:latin typeface="Source Serif Pro"/>
                <a:ea typeface="Source Serif Pro"/>
                <a:cs typeface="Source Serif Pro"/>
                <a:sym typeface="Source Serif Pr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300"/>
              <a:buFont typeface="Source Serif Pro"/>
              <a:buNone/>
              <a:defRPr sz="2530">
                <a:latin typeface="Source Serif Pro"/>
                <a:ea typeface="Source Serif Pro"/>
                <a:cs typeface="Source Serif Pro"/>
                <a:sym typeface="Source Serif Pr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300"/>
              <a:buFont typeface="Source Serif Pro"/>
              <a:buNone/>
              <a:defRPr sz="2530">
                <a:latin typeface="Source Serif Pro"/>
                <a:ea typeface="Source Serif Pro"/>
                <a:cs typeface="Source Serif Pro"/>
                <a:sym typeface="Source Serif Pr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300"/>
              <a:buFont typeface="Source Serif Pro"/>
              <a:buNone/>
              <a:defRPr sz="2530">
                <a:latin typeface="Source Serif Pro"/>
                <a:ea typeface="Source Serif Pro"/>
                <a:cs typeface="Source Serif Pro"/>
                <a:sym typeface="Source Serif Pr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300"/>
              <a:buFont typeface="Source Serif Pro"/>
              <a:buNone/>
              <a:defRPr sz="2530">
                <a:latin typeface="Source Serif Pro"/>
                <a:ea typeface="Source Serif Pro"/>
                <a:cs typeface="Source Serif Pro"/>
                <a:sym typeface="Source Serif Pr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300"/>
              <a:buFont typeface="Source Serif Pro"/>
              <a:buNone/>
              <a:defRPr sz="2530">
                <a:latin typeface="Source Serif Pro"/>
                <a:ea typeface="Source Serif Pro"/>
                <a:cs typeface="Source Serif Pro"/>
                <a:sym typeface="Source Serif Pr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300"/>
              <a:buFont typeface="Source Serif Pro"/>
              <a:buNone/>
              <a:defRPr sz="2530">
                <a:latin typeface="Source Serif Pro"/>
                <a:ea typeface="Source Serif Pro"/>
                <a:cs typeface="Source Serif Pro"/>
                <a:sym typeface="Source Serif Pro"/>
              </a:defRPr>
            </a:lvl9pPr>
          </a:lstStyle>
          <a:p>
            <a:endParaRPr/>
          </a:p>
        </p:txBody>
      </p:sp>
      <p:sp>
        <p:nvSpPr>
          <p:cNvPr id="63" name="Google Shape;63;p11"/>
          <p:cNvSpPr txBox="1">
            <a:spLocks noGrp="1"/>
          </p:cNvSpPr>
          <p:nvPr>
            <p:ph type="sldNum" idx="12"/>
          </p:nvPr>
        </p:nvSpPr>
        <p:spPr>
          <a:xfrm>
            <a:off x="6573930" y="7046651"/>
            <a:ext cx="3090780" cy="527227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880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lvl="1" rtl="0">
              <a:buNone/>
              <a:defRPr sz="880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lvl="2" rtl="0">
              <a:buNone/>
              <a:defRPr sz="880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lvl="3" rtl="0">
              <a:buNone/>
              <a:defRPr sz="880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lvl="4" rtl="0">
              <a:buNone/>
              <a:defRPr sz="880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lvl="5" rtl="0">
              <a:buNone/>
              <a:defRPr sz="880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lvl="6" rtl="0">
              <a:buNone/>
              <a:defRPr sz="880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lvl="7" rtl="0">
              <a:buNone/>
              <a:defRPr sz="880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lvl="8" rtl="0">
              <a:buNone/>
              <a:defRPr sz="880">
                <a:solidFill>
                  <a:srgbClr val="B7B7B7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pPr algn="r"/>
            <a:r>
              <a:rPr lang="en-US"/>
              <a:t>© 2012-2020 Credly, Inc | Proprietary and Confidential | </a:t>
            </a:r>
            <a:fld id="{00000000-1234-1234-1234-123412341234}" type="slidenum">
              <a:rPr lang="en-US" smtClean="0">
                <a:solidFill>
                  <a:schemeClr val="accent1"/>
                </a:solidFill>
              </a:rPr>
              <a:pPr algn="r"/>
              <a:t>‹#›</a:t>
            </a:fld>
            <a:endParaRPr lang="en-US">
              <a:solidFill>
                <a:schemeClr val="accent1"/>
              </a:solidFill>
            </a:endParaRPr>
          </a:p>
        </p:txBody>
      </p:sp>
      <p:pic>
        <p:nvPicPr>
          <p:cNvPr id="64" name="Google Shape;64;p11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450534" y="7074476"/>
            <a:ext cx="477364" cy="326911"/>
          </a:xfrm>
          <a:prstGeom prst="rect">
            <a:avLst/>
          </a:prstGeom>
          <a:noFill/>
          <a:ln>
            <a:noFill/>
          </a:ln>
        </p:spPr>
      </p:pic>
      <p:sp>
        <p:nvSpPr>
          <p:cNvPr id="65" name="Google Shape;65;p11"/>
          <p:cNvSpPr txBox="1">
            <a:spLocks noGrp="1"/>
          </p:cNvSpPr>
          <p:nvPr>
            <p:ph type="subTitle" idx="1"/>
          </p:nvPr>
        </p:nvSpPr>
        <p:spPr>
          <a:xfrm>
            <a:off x="342870" y="1391620"/>
            <a:ext cx="9265080" cy="52722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600"/>
              <a:buNone/>
              <a:defRPr sz="1320">
                <a:latin typeface="Proxima Nova"/>
                <a:ea typeface="Proxima Nova"/>
                <a:cs typeface="Proxima Nova"/>
                <a:sym typeface="Proxima Nova"/>
              </a:defRPr>
            </a:lvl1pPr>
            <a:lvl2pPr lvl="1" algn="l" rtl="0">
              <a:spcBef>
                <a:spcPts val="1100"/>
              </a:spcBef>
              <a:spcAft>
                <a:spcPts val="0"/>
              </a:spcAft>
              <a:buSzPts val="1200"/>
              <a:buNone/>
              <a:defRPr sz="1320">
                <a:latin typeface="Proxima Nova"/>
                <a:ea typeface="Proxima Nova"/>
                <a:cs typeface="Proxima Nova"/>
                <a:sym typeface="Proxima Nova"/>
              </a:defRPr>
            </a:lvl2pPr>
            <a:lvl3pPr lvl="2" algn="l" rtl="0">
              <a:spcBef>
                <a:spcPts val="1100"/>
              </a:spcBef>
              <a:spcAft>
                <a:spcPts val="0"/>
              </a:spcAft>
              <a:buSzPts val="1200"/>
              <a:buNone/>
              <a:defRPr sz="1320">
                <a:latin typeface="Proxima Nova"/>
                <a:ea typeface="Proxima Nova"/>
                <a:cs typeface="Proxima Nova"/>
                <a:sym typeface="Proxima Nova"/>
              </a:defRPr>
            </a:lvl3pPr>
            <a:lvl4pPr lvl="3" algn="l" rtl="0">
              <a:spcBef>
                <a:spcPts val="1100"/>
              </a:spcBef>
              <a:spcAft>
                <a:spcPts val="0"/>
              </a:spcAft>
              <a:buSzPts val="1200"/>
              <a:buNone/>
              <a:defRPr sz="1320">
                <a:latin typeface="Proxima Nova"/>
                <a:ea typeface="Proxima Nova"/>
                <a:cs typeface="Proxima Nova"/>
                <a:sym typeface="Proxima Nova"/>
              </a:defRPr>
            </a:lvl4pPr>
            <a:lvl5pPr lvl="4" algn="l" rtl="0">
              <a:spcBef>
                <a:spcPts val="1100"/>
              </a:spcBef>
              <a:spcAft>
                <a:spcPts val="0"/>
              </a:spcAft>
              <a:buSzPts val="1200"/>
              <a:buNone/>
              <a:defRPr sz="1320">
                <a:latin typeface="Proxima Nova"/>
                <a:ea typeface="Proxima Nova"/>
                <a:cs typeface="Proxima Nova"/>
                <a:sym typeface="Proxima Nova"/>
              </a:defRPr>
            </a:lvl5pPr>
            <a:lvl6pPr lvl="5" algn="l" rtl="0">
              <a:spcBef>
                <a:spcPts val="1100"/>
              </a:spcBef>
              <a:spcAft>
                <a:spcPts val="0"/>
              </a:spcAft>
              <a:buSzPts val="1200"/>
              <a:buNone/>
              <a:defRPr sz="1320">
                <a:latin typeface="Proxima Nova"/>
                <a:ea typeface="Proxima Nova"/>
                <a:cs typeface="Proxima Nova"/>
                <a:sym typeface="Proxima Nova"/>
              </a:defRPr>
            </a:lvl6pPr>
            <a:lvl7pPr lvl="6" algn="l" rtl="0">
              <a:spcBef>
                <a:spcPts val="1100"/>
              </a:spcBef>
              <a:spcAft>
                <a:spcPts val="0"/>
              </a:spcAft>
              <a:buSzPts val="1200"/>
              <a:buNone/>
              <a:defRPr sz="1320">
                <a:latin typeface="Proxima Nova"/>
                <a:ea typeface="Proxima Nova"/>
                <a:cs typeface="Proxima Nova"/>
                <a:sym typeface="Proxima Nova"/>
              </a:defRPr>
            </a:lvl7pPr>
            <a:lvl8pPr lvl="7" algn="l" rtl="0">
              <a:spcBef>
                <a:spcPts val="1100"/>
              </a:spcBef>
              <a:spcAft>
                <a:spcPts val="0"/>
              </a:spcAft>
              <a:buSzPts val="1200"/>
              <a:buNone/>
              <a:defRPr sz="1320">
                <a:latin typeface="Proxima Nova"/>
                <a:ea typeface="Proxima Nova"/>
                <a:cs typeface="Proxima Nova"/>
                <a:sym typeface="Proxima Nova"/>
              </a:defRPr>
            </a:lvl8pPr>
            <a:lvl9pPr lvl="8" algn="l" rtl="0">
              <a:spcBef>
                <a:spcPts val="1100"/>
              </a:spcBef>
              <a:spcAft>
                <a:spcPts val="1100"/>
              </a:spcAft>
              <a:buSzPts val="1200"/>
              <a:buNone/>
              <a:defRPr sz="1320"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endParaRPr/>
          </a:p>
        </p:txBody>
      </p:sp>
      <p:sp>
        <p:nvSpPr>
          <p:cNvPr id="66" name="Google Shape;66;p11"/>
          <p:cNvSpPr txBox="1">
            <a:spLocks noGrp="1"/>
          </p:cNvSpPr>
          <p:nvPr>
            <p:ph type="body" idx="2"/>
          </p:nvPr>
        </p:nvSpPr>
        <p:spPr>
          <a:xfrm>
            <a:off x="450533" y="4103044"/>
            <a:ext cx="2766060" cy="280114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502920" lvl="0" indent="-36322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Proxima Nova"/>
              <a:buChar char="▫"/>
              <a:defRPr sz="1760">
                <a:latin typeface="Proxima Nova"/>
                <a:ea typeface="Proxima Nova"/>
                <a:cs typeface="Proxima Nova"/>
                <a:sym typeface="Proxima Nova"/>
              </a:defRPr>
            </a:lvl1pPr>
            <a:lvl2pPr marL="1005840" lvl="1" indent="-342265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300"/>
              <a:buFont typeface="Proxima Nova"/>
              <a:buChar char="⎼"/>
              <a:defRPr sz="1430">
                <a:latin typeface="Proxima Nova"/>
                <a:ea typeface="Proxima Nova"/>
                <a:cs typeface="Proxima Nova"/>
                <a:sym typeface="Proxima Nova"/>
              </a:defRPr>
            </a:lvl2pPr>
            <a:lvl3pPr marL="1508760" lvl="2" indent="-328295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▫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3pPr>
            <a:lvl4pPr marL="2011680" lvl="3" indent="-328295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⎼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4pPr>
            <a:lvl5pPr marL="2514600" lvl="4" indent="-328295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▫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5pPr>
            <a:lvl6pPr marL="3017520" lvl="5" indent="-328295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⎼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6pPr>
            <a:lvl7pPr marL="3520440" lvl="6" indent="-328295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▫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7pPr>
            <a:lvl8pPr marL="4023360" lvl="7" indent="-328295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⎼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8pPr>
            <a:lvl9pPr marL="4526280" lvl="8" indent="-328295" rtl="0">
              <a:lnSpc>
                <a:spcPct val="100000"/>
              </a:lnSpc>
              <a:spcBef>
                <a:spcPts val="1100"/>
              </a:spcBef>
              <a:spcAft>
                <a:spcPts val="1100"/>
              </a:spcAft>
              <a:buSzPts val="1100"/>
              <a:buFont typeface="Proxima Nova"/>
              <a:buChar char="▫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endParaRPr/>
          </a:p>
        </p:txBody>
      </p:sp>
      <p:sp>
        <p:nvSpPr>
          <p:cNvPr id="67" name="Google Shape;67;p11"/>
          <p:cNvSpPr txBox="1">
            <a:spLocks noGrp="1"/>
          </p:cNvSpPr>
          <p:nvPr>
            <p:ph type="body" idx="3"/>
          </p:nvPr>
        </p:nvSpPr>
        <p:spPr>
          <a:xfrm>
            <a:off x="6841808" y="4103044"/>
            <a:ext cx="2766060" cy="279978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502920" lvl="0" indent="-36322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Proxima Nova"/>
              <a:buChar char="▫"/>
              <a:defRPr sz="1760">
                <a:latin typeface="Proxima Nova"/>
                <a:ea typeface="Proxima Nova"/>
                <a:cs typeface="Proxima Nova"/>
                <a:sym typeface="Proxima Nova"/>
              </a:defRPr>
            </a:lvl1pPr>
            <a:lvl2pPr marL="1005840" lvl="1" indent="-342265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300"/>
              <a:buFont typeface="Proxima Nova"/>
              <a:buChar char="⎼"/>
              <a:defRPr sz="1430">
                <a:latin typeface="Proxima Nova"/>
                <a:ea typeface="Proxima Nova"/>
                <a:cs typeface="Proxima Nova"/>
                <a:sym typeface="Proxima Nova"/>
              </a:defRPr>
            </a:lvl2pPr>
            <a:lvl3pPr marL="1508760" lvl="2" indent="-328295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▫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3pPr>
            <a:lvl4pPr marL="2011680" lvl="3" indent="-328295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⎼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4pPr>
            <a:lvl5pPr marL="2514600" lvl="4" indent="-328295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▫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5pPr>
            <a:lvl6pPr marL="3017520" lvl="5" indent="-328295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⎼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6pPr>
            <a:lvl7pPr marL="3520440" lvl="6" indent="-328295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▫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7pPr>
            <a:lvl8pPr marL="4023360" lvl="7" indent="-328295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⎼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8pPr>
            <a:lvl9pPr marL="4526280" lvl="8" indent="-328295" rtl="0">
              <a:lnSpc>
                <a:spcPct val="100000"/>
              </a:lnSpc>
              <a:spcBef>
                <a:spcPts val="1100"/>
              </a:spcBef>
              <a:spcAft>
                <a:spcPts val="1100"/>
              </a:spcAft>
              <a:buSzPts val="1100"/>
              <a:buFont typeface="Proxima Nova"/>
              <a:buChar char="▫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endParaRPr/>
          </a:p>
        </p:txBody>
      </p:sp>
      <p:sp>
        <p:nvSpPr>
          <p:cNvPr id="68" name="Google Shape;68;p11"/>
          <p:cNvSpPr txBox="1">
            <a:spLocks noGrp="1"/>
          </p:cNvSpPr>
          <p:nvPr>
            <p:ph type="body" idx="4"/>
          </p:nvPr>
        </p:nvSpPr>
        <p:spPr>
          <a:xfrm>
            <a:off x="3646170" y="4103044"/>
            <a:ext cx="2766060" cy="280114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502920" lvl="0" indent="-36322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Proxima Nova"/>
              <a:buChar char="▫"/>
              <a:defRPr sz="1760">
                <a:latin typeface="Proxima Nova"/>
                <a:ea typeface="Proxima Nova"/>
                <a:cs typeface="Proxima Nova"/>
                <a:sym typeface="Proxima Nova"/>
              </a:defRPr>
            </a:lvl1pPr>
            <a:lvl2pPr marL="1005840" lvl="1" indent="-342265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300"/>
              <a:buFont typeface="Proxima Nova"/>
              <a:buChar char="⎼"/>
              <a:defRPr sz="1430">
                <a:latin typeface="Proxima Nova"/>
                <a:ea typeface="Proxima Nova"/>
                <a:cs typeface="Proxima Nova"/>
                <a:sym typeface="Proxima Nova"/>
              </a:defRPr>
            </a:lvl2pPr>
            <a:lvl3pPr marL="1508760" lvl="2" indent="-328295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▫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3pPr>
            <a:lvl4pPr marL="2011680" lvl="3" indent="-328295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⎼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4pPr>
            <a:lvl5pPr marL="2514600" lvl="4" indent="-328295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▫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5pPr>
            <a:lvl6pPr marL="3017520" lvl="5" indent="-328295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⎼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6pPr>
            <a:lvl7pPr marL="3520440" lvl="6" indent="-328295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▫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7pPr>
            <a:lvl8pPr marL="4023360" lvl="7" indent="-328295" rtl="0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SzPts val="1100"/>
              <a:buFont typeface="Proxima Nova"/>
              <a:buChar char="⎼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8pPr>
            <a:lvl9pPr marL="4526280" lvl="8" indent="-328295" rtl="0">
              <a:lnSpc>
                <a:spcPct val="100000"/>
              </a:lnSpc>
              <a:spcBef>
                <a:spcPts val="1100"/>
              </a:spcBef>
              <a:spcAft>
                <a:spcPts val="1100"/>
              </a:spcAft>
              <a:buSzPts val="1100"/>
              <a:buFont typeface="Proxima Nova"/>
              <a:buChar char="▫"/>
              <a:defRPr sz="1210"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30246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8">
          <p15:clr>
            <a:srgbClr val="FA7B17"/>
          </p15:clr>
        </p15:guide>
        <p15:guide id="2" orient="horz" pos="3085">
          <p15:clr>
            <a:srgbClr val="FA7B17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1057655"/>
            <a:ext cx="10058400" cy="190500"/>
          </a:xfrm>
          <a:custGeom>
            <a:avLst/>
            <a:gdLst/>
            <a:ahLst/>
            <a:cxnLst/>
            <a:rect l="l" t="t" r="r" b="b"/>
            <a:pathLst>
              <a:path w="10058400" h="190500">
                <a:moveTo>
                  <a:pt x="10058400" y="190499"/>
                </a:moveTo>
                <a:lnTo>
                  <a:pt x="0" y="190499"/>
                </a:lnTo>
                <a:lnTo>
                  <a:pt x="0" y="0"/>
                </a:lnTo>
                <a:lnTo>
                  <a:pt x="10058400" y="0"/>
                </a:lnTo>
                <a:lnTo>
                  <a:pt x="10058400" y="190499"/>
                </a:lnTo>
                <a:close/>
              </a:path>
            </a:pathLst>
          </a:custGeom>
          <a:solidFill>
            <a:srgbClr val="FFD6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9119616" y="6507479"/>
            <a:ext cx="571500" cy="43180"/>
          </a:xfrm>
          <a:custGeom>
            <a:avLst/>
            <a:gdLst/>
            <a:ahLst/>
            <a:cxnLst/>
            <a:rect l="l" t="t" r="r" b="b"/>
            <a:pathLst>
              <a:path w="571500" h="43179">
                <a:moveTo>
                  <a:pt x="27432" y="1524"/>
                </a:moveTo>
                <a:lnTo>
                  <a:pt x="0" y="1524"/>
                </a:lnTo>
                <a:lnTo>
                  <a:pt x="0" y="7620"/>
                </a:lnTo>
                <a:lnTo>
                  <a:pt x="9144" y="7620"/>
                </a:lnTo>
                <a:lnTo>
                  <a:pt x="9144" y="42672"/>
                </a:lnTo>
                <a:lnTo>
                  <a:pt x="16764" y="42672"/>
                </a:lnTo>
                <a:lnTo>
                  <a:pt x="16764" y="7620"/>
                </a:lnTo>
                <a:lnTo>
                  <a:pt x="27432" y="7620"/>
                </a:lnTo>
                <a:lnTo>
                  <a:pt x="27432" y="1524"/>
                </a:lnTo>
                <a:close/>
              </a:path>
              <a:path w="571500" h="43179">
                <a:moveTo>
                  <a:pt x="62484" y="1536"/>
                </a:moveTo>
                <a:lnTo>
                  <a:pt x="41148" y="1536"/>
                </a:lnTo>
                <a:lnTo>
                  <a:pt x="41148" y="42684"/>
                </a:lnTo>
                <a:lnTo>
                  <a:pt x="62484" y="42684"/>
                </a:lnTo>
                <a:lnTo>
                  <a:pt x="62484" y="36588"/>
                </a:lnTo>
                <a:lnTo>
                  <a:pt x="47244" y="36588"/>
                </a:lnTo>
                <a:lnTo>
                  <a:pt x="47244" y="24396"/>
                </a:lnTo>
                <a:lnTo>
                  <a:pt x="60960" y="24396"/>
                </a:lnTo>
                <a:lnTo>
                  <a:pt x="60960" y="18300"/>
                </a:lnTo>
                <a:lnTo>
                  <a:pt x="47244" y="18300"/>
                </a:lnTo>
                <a:lnTo>
                  <a:pt x="47244" y="7632"/>
                </a:lnTo>
                <a:lnTo>
                  <a:pt x="62484" y="7632"/>
                </a:lnTo>
                <a:lnTo>
                  <a:pt x="62484" y="1536"/>
                </a:lnTo>
                <a:close/>
              </a:path>
              <a:path w="571500" h="43179">
                <a:moveTo>
                  <a:pt x="102108" y="6096"/>
                </a:moveTo>
                <a:lnTo>
                  <a:pt x="99060" y="4572"/>
                </a:lnTo>
                <a:lnTo>
                  <a:pt x="97536" y="1524"/>
                </a:lnTo>
                <a:lnTo>
                  <a:pt x="83820" y="1524"/>
                </a:lnTo>
                <a:lnTo>
                  <a:pt x="77724" y="6096"/>
                </a:lnTo>
                <a:lnTo>
                  <a:pt x="77724" y="19812"/>
                </a:lnTo>
                <a:lnTo>
                  <a:pt x="83820" y="21336"/>
                </a:lnTo>
                <a:lnTo>
                  <a:pt x="88392" y="24384"/>
                </a:lnTo>
                <a:lnTo>
                  <a:pt x="92964" y="25908"/>
                </a:lnTo>
                <a:lnTo>
                  <a:pt x="96012" y="28956"/>
                </a:lnTo>
                <a:lnTo>
                  <a:pt x="96012" y="35052"/>
                </a:lnTo>
                <a:lnTo>
                  <a:pt x="94488" y="36576"/>
                </a:lnTo>
                <a:lnTo>
                  <a:pt x="83820" y="36576"/>
                </a:lnTo>
                <a:lnTo>
                  <a:pt x="83820" y="28956"/>
                </a:lnTo>
                <a:lnTo>
                  <a:pt x="77724" y="28956"/>
                </a:lnTo>
                <a:lnTo>
                  <a:pt x="77724" y="36576"/>
                </a:lnTo>
                <a:lnTo>
                  <a:pt x="80772" y="39624"/>
                </a:lnTo>
                <a:lnTo>
                  <a:pt x="82296" y="42672"/>
                </a:lnTo>
                <a:lnTo>
                  <a:pt x="97536" y="42672"/>
                </a:lnTo>
                <a:lnTo>
                  <a:pt x="102108" y="39624"/>
                </a:lnTo>
                <a:lnTo>
                  <a:pt x="102108" y="36576"/>
                </a:lnTo>
                <a:lnTo>
                  <a:pt x="102108" y="24384"/>
                </a:lnTo>
                <a:lnTo>
                  <a:pt x="92964" y="18288"/>
                </a:lnTo>
                <a:lnTo>
                  <a:pt x="88392" y="16764"/>
                </a:lnTo>
                <a:lnTo>
                  <a:pt x="85344" y="15240"/>
                </a:lnTo>
                <a:lnTo>
                  <a:pt x="85344" y="7620"/>
                </a:lnTo>
                <a:lnTo>
                  <a:pt x="94488" y="7620"/>
                </a:lnTo>
                <a:lnTo>
                  <a:pt x="94488" y="9144"/>
                </a:lnTo>
                <a:lnTo>
                  <a:pt x="96012" y="10668"/>
                </a:lnTo>
                <a:lnTo>
                  <a:pt x="96012" y="13716"/>
                </a:lnTo>
                <a:lnTo>
                  <a:pt x="102108" y="13716"/>
                </a:lnTo>
                <a:lnTo>
                  <a:pt x="102108" y="7620"/>
                </a:lnTo>
                <a:lnTo>
                  <a:pt x="102108" y="6096"/>
                </a:lnTo>
                <a:close/>
              </a:path>
              <a:path w="571500" h="43179">
                <a:moveTo>
                  <a:pt x="143243" y="1524"/>
                </a:moveTo>
                <a:lnTo>
                  <a:pt x="115811" y="1524"/>
                </a:lnTo>
                <a:lnTo>
                  <a:pt x="115811" y="7620"/>
                </a:lnTo>
                <a:lnTo>
                  <a:pt x="126479" y="7620"/>
                </a:lnTo>
                <a:lnTo>
                  <a:pt x="126479" y="42672"/>
                </a:lnTo>
                <a:lnTo>
                  <a:pt x="132575" y="42672"/>
                </a:lnTo>
                <a:lnTo>
                  <a:pt x="132575" y="7620"/>
                </a:lnTo>
                <a:lnTo>
                  <a:pt x="143243" y="7620"/>
                </a:lnTo>
                <a:lnTo>
                  <a:pt x="143243" y="1524"/>
                </a:lnTo>
                <a:close/>
              </a:path>
              <a:path w="571500" h="43179">
                <a:moveTo>
                  <a:pt x="164579" y="1524"/>
                </a:moveTo>
                <a:lnTo>
                  <a:pt x="156959" y="1524"/>
                </a:lnTo>
                <a:lnTo>
                  <a:pt x="156959" y="42672"/>
                </a:lnTo>
                <a:lnTo>
                  <a:pt x="164579" y="42672"/>
                </a:lnTo>
                <a:lnTo>
                  <a:pt x="164579" y="1524"/>
                </a:lnTo>
                <a:close/>
              </a:path>
              <a:path w="571500" h="43179">
                <a:moveTo>
                  <a:pt x="211823" y="1524"/>
                </a:moveTo>
                <a:lnTo>
                  <a:pt x="205727" y="1524"/>
                </a:lnTo>
                <a:lnTo>
                  <a:pt x="205727" y="32004"/>
                </a:lnTo>
                <a:lnTo>
                  <a:pt x="192011" y="1524"/>
                </a:lnTo>
                <a:lnTo>
                  <a:pt x="182867" y="1524"/>
                </a:lnTo>
                <a:lnTo>
                  <a:pt x="182867" y="42672"/>
                </a:lnTo>
                <a:lnTo>
                  <a:pt x="188963" y="42672"/>
                </a:lnTo>
                <a:lnTo>
                  <a:pt x="188963" y="12192"/>
                </a:lnTo>
                <a:lnTo>
                  <a:pt x="202679" y="42672"/>
                </a:lnTo>
                <a:lnTo>
                  <a:pt x="211823" y="42672"/>
                </a:lnTo>
                <a:lnTo>
                  <a:pt x="211823" y="1524"/>
                </a:lnTo>
                <a:close/>
              </a:path>
              <a:path w="571500" h="43179">
                <a:moveTo>
                  <a:pt x="256032" y="9144"/>
                </a:moveTo>
                <a:lnTo>
                  <a:pt x="255270" y="7620"/>
                </a:lnTo>
                <a:lnTo>
                  <a:pt x="254508" y="6096"/>
                </a:lnTo>
                <a:lnTo>
                  <a:pt x="249936" y="1524"/>
                </a:lnTo>
                <a:lnTo>
                  <a:pt x="233172" y="1524"/>
                </a:lnTo>
                <a:lnTo>
                  <a:pt x="228600" y="6096"/>
                </a:lnTo>
                <a:lnTo>
                  <a:pt x="228600" y="38100"/>
                </a:lnTo>
                <a:lnTo>
                  <a:pt x="233172" y="42672"/>
                </a:lnTo>
                <a:lnTo>
                  <a:pt x="249936" y="42672"/>
                </a:lnTo>
                <a:lnTo>
                  <a:pt x="254508" y="39624"/>
                </a:lnTo>
                <a:lnTo>
                  <a:pt x="254508" y="36576"/>
                </a:lnTo>
                <a:lnTo>
                  <a:pt x="254508" y="19812"/>
                </a:lnTo>
                <a:lnTo>
                  <a:pt x="240792" y="19812"/>
                </a:lnTo>
                <a:lnTo>
                  <a:pt x="240792" y="25908"/>
                </a:lnTo>
                <a:lnTo>
                  <a:pt x="248412" y="25908"/>
                </a:lnTo>
                <a:lnTo>
                  <a:pt x="248412" y="36576"/>
                </a:lnTo>
                <a:lnTo>
                  <a:pt x="237744" y="36576"/>
                </a:lnTo>
                <a:lnTo>
                  <a:pt x="236220" y="35052"/>
                </a:lnTo>
                <a:lnTo>
                  <a:pt x="236220" y="7620"/>
                </a:lnTo>
                <a:lnTo>
                  <a:pt x="246888" y="7620"/>
                </a:lnTo>
                <a:lnTo>
                  <a:pt x="248412" y="9144"/>
                </a:lnTo>
                <a:lnTo>
                  <a:pt x="248412" y="13716"/>
                </a:lnTo>
                <a:lnTo>
                  <a:pt x="254508" y="13716"/>
                </a:lnTo>
                <a:lnTo>
                  <a:pt x="256032" y="9144"/>
                </a:lnTo>
                <a:close/>
              </a:path>
              <a:path w="571500" h="43179">
                <a:moveTo>
                  <a:pt x="320027" y="9144"/>
                </a:moveTo>
                <a:lnTo>
                  <a:pt x="319265" y="7620"/>
                </a:lnTo>
                <a:lnTo>
                  <a:pt x="318503" y="6096"/>
                </a:lnTo>
                <a:lnTo>
                  <a:pt x="316979" y="4572"/>
                </a:lnTo>
                <a:lnTo>
                  <a:pt x="315455" y="1524"/>
                </a:lnTo>
                <a:lnTo>
                  <a:pt x="300215" y="1524"/>
                </a:lnTo>
                <a:lnTo>
                  <a:pt x="295643" y="6096"/>
                </a:lnTo>
                <a:lnTo>
                  <a:pt x="295643" y="19812"/>
                </a:lnTo>
                <a:lnTo>
                  <a:pt x="301739" y="21336"/>
                </a:lnTo>
                <a:lnTo>
                  <a:pt x="306311" y="24384"/>
                </a:lnTo>
                <a:lnTo>
                  <a:pt x="309359" y="25908"/>
                </a:lnTo>
                <a:lnTo>
                  <a:pt x="312407" y="28956"/>
                </a:lnTo>
                <a:lnTo>
                  <a:pt x="312407" y="35052"/>
                </a:lnTo>
                <a:lnTo>
                  <a:pt x="310883" y="36576"/>
                </a:lnTo>
                <a:lnTo>
                  <a:pt x="301739" y="36576"/>
                </a:lnTo>
                <a:lnTo>
                  <a:pt x="301739" y="28956"/>
                </a:lnTo>
                <a:lnTo>
                  <a:pt x="294119" y="28956"/>
                </a:lnTo>
                <a:lnTo>
                  <a:pt x="294119" y="36576"/>
                </a:lnTo>
                <a:lnTo>
                  <a:pt x="300215" y="42672"/>
                </a:lnTo>
                <a:lnTo>
                  <a:pt x="315455" y="42672"/>
                </a:lnTo>
                <a:lnTo>
                  <a:pt x="320027" y="39624"/>
                </a:lnTo>
                <a:lnTo>
                  <a:pt x="320027" y="36576"/>
                </a:lnTo>
                <a:lnTo>
                  <a:pt x="320027" y="24384"/>
                </a:lnTo>
                <a:lnTo>
                  <a:pt x="313931" y="21336"/>
                </a:lnTo>
                <a:lnTo>
                  <a:pt x="309359" y="18288"/>
                </a:lnTo>
                <a:lnTo>
                  <a:pt x="303263" y="15240"/>
                </a:lnTo>
                <a:lnTo>
                  <a:pt x="303263" y="7620"/>
                </a:lnTo>
                <a:lnTo>
                  <a:pt x="310883" y="7620"/>
                </a:lnTo>
                <a:lnTo>
                  <a:pt x="312407" y="9144"/>
                </a:lnTo>
                <a:lnTo>
                  <a:pt x="312407" y="13716"/>
                </a:lnTo>
                <a:lnTo>
                  <a:pt x="320027" y="13716"/>
                </a:lnTo>
                <a:lnTo>
                  <a:pt x="320027" y="9144"/>
                </a:lnTo>
                <a:close/>
              </a:path>
              <a:path w="571500" h="43179">
                <a:moveTo>
                  <a:pt x="359664" y="36588"/>
                </a:moveTo>
                <a:lnTo>
                  <a:pt x="342900" y="36588"/>
                </a:lnTo>
                <a:lnTo>
                  <a:pt x="342900" y="24396"/>
                </a:lnTo>
                <a:lnTo>
                  <a:pt x="358140" y="24396"/>
                </a:lnTo>
                <a:lnTo>
                  <a:pt x="358140" y="18300"/>
                </a:lnTo>
                <a:lnTo>
                  <a:pt x="342900" y="18300"/>
                </a:lnTo>
                <a:lnTo>
                  <a:pt x="342900" y="7632"/>
                </a:lnTo>
                <a:lnTo>
                  <a:pt x="358140" y="7632"/>
                </a:lnTo>
                <a:lnTo>
                  <a:pt x="358140" y="1536"/>
                </a:lnTo>
                <a:lnTo>
                  <a:pt x="336804" y="1536"/>
                </a:lnTo>
                <a:lnTo>
                  <a:pt x="336804" y="42684"/>
                </a:lnTo>
                <a:lnTo>
                  <a:pt x="359664" y="42684"/>
                </a:lnTo>
                <a:lnTo>
                  <a:pt x="359664" y="36588"/>
                </a:lnTo>
                <a:close/>
              </a:path>
              <a:path w="571500" h="43179">
                <a:moveTo>
                  <a:pt x="399288" y="7620"/>
                </a:moveTo>
                <a:lnTo>
                  <a:pt x="396240" y="1524"/>
                </a:lnTo>
                <a:lnTo>
                  <a:pt x="391668" y="1524"/>
                </a:lnTo>
                <a:lnTo>
                  <a:pt x="391668" y="7620"/>
                </a:lnTo>
                <a:lnTo>
                  <a:pt x="391668" y="15252"/>
                </a:lnTo>
                <a:lnTo>
                  <a:pt x="390144" y="18300"/>
                </a:lnTo>
                <a:lnTo>
                  <a:pt x="381000" y="18300"/>
                </a:lnTo>
                <a:lnTo>
                  <a:pt x="381000" y="7620"/>
                </a:lnTo>
                <a:lnTo>
                  <a:pt x="391668" y="7620"/>
                </a:lnTo>
                <a:lnTo>
                  <a:pt x="391668" y="1524"/>
                </a:lnTo>
                <a:lnTo>
                  <a:pt x="374904" y="1524"/>
                </a:lnTo>
                <a:lnTo>
                  <a:pt x="374904" y="42684"/>
                </a:lnTo>
                <a:lnTo>
                  <a:pt x="381000" y="42684"/>
                </a:lnTo>
                <a:lnTo>
                  <a:pt x="381000" y="24396"/>
                </a:lnTo>
                <a:lnTo>
                  <a:pt x="388620" y="24396"/>
                </a:lnTo>
                <a:lnTo>
                  <a:pt x="390144" y="25920"/>
                </a:lnTo>
                <a:lnTo>
                  <a:pt x="390144" y="28968"/>
                </a:lnTo>
                <a:lnTo>
                  <a:pt x="391668" y="30492"/>
                </a:lnTo>
                <a:lnTo>
                  <a:pt x="391668" y="39636"/>
                </a:lnTo>
                <a:lnTo>
                  <a:pt x="393192" y="41160"/>
                </a:lnTo>
                <a:lnTo>
                  <a:pt x="393192" y="42684"/>
                </a:lnTo>
                <a:lnTo>
                  <a:pt x="399288" y="42684"/>
                </a:lnTo>
                <a:lnTo>
                  <a:pt x="399288" y="38112"/>
                </a:lnTo>
                <a:lnTo>
                  <a:pt x="397764" y="33540"/>
                </a:lnTo>
                <a:lnTo>
                  <a:pt x="397764" y="24396"/>
                </a:lnTo>
                <a:lnTo>
                  <a:pt x="397764" y="22872"/>
                </a:lnTo>
                <a:lnTo>
                  <a:pt x="394716" y="21348"/>
                </a:lnTo>
                <a:lnTo>
                  <a:pt x="397764" y="19824"/>
                </a:lnTo>
                <a:lnTo>
                  <a:pt x="398526" y="18300"/>
                </a:lnTo>
                <a:lnTo>
                  <a:pt x="399288" y="16776"/>
                </a:lnTo>
                <a:lnTo>
                  <a:pt x="399288" y="7620"/>
                </a:lnTo>
                <a:close/>
              </a:path>
              <a:path w="571500" h="43179">
                <a:moveTo>
                  <a:pt x="441947" y="1524"/>
                </a:moveTo>
                <a:lnTo>
                  <a:pt x="435851" y="1524"/>
                </a:lnTo>
                <a:lnTo>
                  <a:pt x="426707" y="33528"/>
                </a:lnTo>
                <a:lnTo>
                  <a:pt x="419087" y="1524"/>
                </a:lnTo>
                <a:lnTo>
                  <a:pt x="411467" y="1524"/>
                </a:lnTo>
                <a:lnTo>
                  <a:pt x="423659" y="42672"/>
                </a:lnTo>
                <a:lnTo>
                  <a:pt x="429755" y="42672"/>
                </a:lnTo>
                <a:lnTo>
                  <a:pt x="441947" y="1524"/>
                </a:lnTo>
                <a:close/>
              </a:path>
              <a:path w="571500" h="43179">
                <a:moveTo>
                  <a:pt x="463296" y="1524"/>
                </a:moveTo>
                <a:lnTo>
                  <a:pt x="455676" y="1524"/>
                </a:lnTo>
                <a:lnTo>
                  <a:pt x="455676" y="42672"/>
                </a:lnTo>
                <a:lnTo>
                  <a:pt x="463296" y="42672"/>
                </a:lnTo>
                <a:lnTo>
                  <a:pt x="463296" y="1524"/>
                </a:lnTo>
                <a:close/>
              </a:path>
              <a:path w="571500" h="43179">
                <a:moveTo>
                  <a:pt x="505955" y="6096"/>
                </a:moveTo>
                <a:lnTo>
                  <a:pt x="502907" y="4572"/>
                </a:lnTo>
                <a:lnTo>
                  <a:pt x="501383" y="1524"/>
                </a:lnTo>
                <a:lnTo>
                  <a:pt x="484619" y="1524"/>
                </a:lnTo>
                <a:lnTo>
                  <a:pt x="481571" y="6096"/>
                </a:lnTo>
                <a:lnTo>
                  <a:pt x="481571" y="42672"/>
                </a:lnTo>
                <a:lnTo>
                  <a:pt x="499859" y="42672"/>
                </a:lnTo>
                <a:lnTo>
                  <a:pt x="502907" y="39624"/>
                </a:lnTo>
                <a:lnTo>
                  <a:pt x="505955" y="38100"/>
                </a:lnTo>
                <a:lnTo>
                  <a:pt x="505955" y="36576"/>
                </a:lnTo>
                <a:lnTo>
                  <a:pt x="505955" y="28956"/>
                </a:lnTo>
                <a:lnTo>
                  <a:pt x="499859" y="28956"/>
                </a:lnTo>
                <a:lnTo>
                  <a:pt x="499859" y="36576"/>
                </a:lnTo>
                <a:lnTo>
                  <a:pt x="487667" y="36576"/>
                </a:lnTo>
                <a:lnTo>
                  <a:pt x="487667" y="12192"/>
                </a:lnTo>
                <a:lnTo>
                  <a:pt x="489191" y="10668"/>
                </a:lnTo>
                <a:lnTo>
                  <a:pt x="489191" y="9144"/>
                </a:lnTo>
                <a:lnTo>
                  <a:pt x="490715" y="7620"/>
                </a:lnTo>
                <a:lnTo>
                  <a:pt x="498335" y="7620"/>
                </a:lnTo>
                <a:lnTo>
                  <a:pt x="498335" y="13716"/>
                </a:lnTo>
                <a:lnTo>
                  <a:pt x="505955" y="13716"/>
                </a:lnTo>
                <a:lnTo>
                  <a:pt x="505955" y="7620"/>
                </a:lnTo>
                <a:lnTo>
                  <a:pt x="505955" y="6096"/>
                </a:lnTo>
                <a:close/>
              </a:path>
              <a:path w="571500" h="43179">
                <a:moveTo>
                  <a:pt x="544068" y="1524"/>
                </a:moveTo>
                <a:lnTo>
                  <a:pt x="522732" y="1524"/>
                </a:lnTo>
                <a:lnTo>
                  <a:pt x="522732" y="42672"/>
                </a:lnTo>
                <a:lnTo>
                  <a:pt x="544068" y="42672"/>
                </a:lnTo>
                <a:lnTo>
                  <a:pt x="544068" y="36576"/>
                </a:lnTo>
                <a:lnTo>
                  <a:pt x="528828" y="36576"/>
                </a:lnTo>
                <a:lnTo>
                  <a:pt x="528828" y="24384"/>
                </a:lnTo>
                <a:lnTo>
                  <a:pt x="542544" y="24384"/>
                </a:lnTo>
                <a:lnTo>
                  <a:pt x="542544" y="18288"/>
                </a:lnTo>
                <a:lnTo>
                  <a:pt x="528828" y="18288"/>
                </a:lnTo>
                <a:lnTo>
                  <a:pt x="528828" y="7620"/>
                </a:lnTo>
                <a:lnTo>
                  <a:pt x="544068" y="7620"/>
                </a:lnTo>
                <a:lnTo>
                  <a:pt x="544068" y="1524"/>
                </a:lnTo>
                <a:close/>
              </a:path>
              <a:path w="571500" h="43179">
                <a:moveTo>
                  <a:pt x="566928" y="4572"/>
                </a:moveTo>
                <a:lnTo>
                  <a:pt x="565404" y="4572"/>
                </a:lnTo>
                <a:lnTo>
                  <a:pt x="565404" y="7620"/>
                </a:lnTo>
                <a:lnTo>
                  <a:pt x="562356" y="7620"/>
                </a:lnTo>
                <a:lnTo>
                  <a:pt x="562356" y="4572"/>
                </a:lnTo>
                <a:lnTo>
                  <a:pt x="560832" y="4572"/>
                </a:lnTo>
                <a:lnTo>
                  <a:pt x="560832" y="13716"/>
                </a:lnTo>
                <a:lnTo>
                  <a:pt x="562356" y="13716"/>
                </a:lnTo>
                <a:lnTo>
                  <a:pt x="562356" y="9144"/>
                </a:lnTo>
                <a:lnTo>
                  <a:pt x="565404" y="9144"/>
                </a:lnTo>
                <a:lnTo>
                  <a:pt x="565404" y="13716"/>
                </a:lnTo>
                <a:lnTo>
                  <a:pt x="566928" y="13716"/>
                </a:lnTo>
                <a:lnTo>
                  <a:pt x="566928" y="9144"/>
                </a:lnTo>
                <a:lnTo>
                  <a:pt x="566928" y="7620"/>
                </a:lnTo>
                <a:lnTo>
                  <a:pt x="566928" y="4572"/>
                </a:lnTo>
                <a:close/>
              </a:path>
              <a:path w="571500" h="43179">
                <a:moveTo>
                  <a:pt x="571500" y="12192"/>
                </a:moveTo>
                <a:lnTo>
                  <a:pt x="568452" y="16764"/>
                </a:lnTo>
                <a:lnTo>
                  <a:pt x="571500" y="13716"/>
                </a:lnTo>
                <a:lnTo>
                  <a:pt x="571500" y="12192"/>
                </a:lnTo>
                <a:close/>
              </a:path>
              <a:path w="571500" h="43179">
                <a:moveTo>
                  <a:pt x="571500" y="4572"/>
                </a:moveTo>
                <a:lnTo>
                  <a:pt x="569468" y="1524"/>
                </a:lnTo>
                <a:lnTo>
                  <a:pt x="568452" y="0"/>
                </a:lnTo>
                <a:lnTo>
                  <a:pt x="559308" y="0"/>
                </a:lnTo>
                <a:lnTo>
                  <a:pt x="554736" y="4572"/>
                </a:lnTo>
                <a:lnTo>
                  <a:pt x="554736" y="13716"/>
                </a:lnTo>
                <a:lnTo>
                  <a:pt x="559308" y="16764"/>
                </a:lnTo>
                <a:lnTo>
                  <a:pt x="556260" y="12192"/>
                </a:lnTo>
                <a:lnTo>
                  <a:pt x="556260" y="4572"/>
                </a:lnTo>
                <a:lnTo>
                  <a:pt x="559308" y="1524"/>
                </a:lnTo>
                <a:lnTo>
                  <a:pt x="568452" y="1524"/>
                </a:lnTo>
                <a:lnTo>
                  <a:pt x="571500" y="4572"/>
                </a:lnTo>
                <a:close/>
              </a:path>
            </a:pathLst>
          </a:custGeom>
          <a:solidFill>
            <a:srgbClr val="007EA3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13" cstate="print"/>
          <a:stretch>
            <a:fillRect/>
          </a:stretch>
        </p:blipFill>
        <p:spPr>
          <a:xfrm>
            <a:off x="9066276" y="6269735"/>
            <a:ext cx="207263" cy="207264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9313163" y="6188964"/>
            <a:ext cx="166370" cy="288290"/>
          </a:xfrm>
          <a:custGeom>
            <a:avLst/>
            <a:gdLst/>
            <a:ahLst/>
            <a:cxnLst/>
            <a:rect l="l" t="t" r="r" b="b"/>
            <a:pathLst>
              <a:path w="166370" h="288289">
                <a:moveTo>
                  <a:pt x="166116" y="288035"/>
                </a:moveTo>
                <a:lnTo>
                  <a:pt x="0" y="205739"/>
                </a:lnTo>
                <a:lnTo>
                  <a:pt x="0" y="0"/>
                </a:lnTo>
                <a:lnTo>
                  <a:pt x="166116" y="80771"/>
                </a:lnTo>
                <a:lnTo>
                  <a:pt x="166116" y="288035"/>
                </a:lnTo>
                <a:close/>
              </a:path>
            </a:pathLst>
          </a:custGeom>
          <a:solidFill>
            <a:srgbClr val="007EA3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14" cstate="print"/>
          <a:stretch>
            <a:fillRect/>
          </a:stretch>
        </p:blipFill>
        <p:spPr>
          <a:xfrm>
            <a:off x="9351930" y="6244494"/>
            <a:ext cx="87058" cy="175450"/>
          </a:xfrm>
          <a:prstGeom prst="rect">
            <a:avLst/>
          </a:prstGeom>
        </p:spPr>
      </p:pic>
      <p:pic>
        <p:nvPicPr>
          <p:cNvPr id="21" name="bg object 21"/>
          <p:cNvPicPr/>
          <p:nvPr/>
        </p:nvPicPr>
        <p:blipFill>
          <a:blip r:embed="rId15" cstate="print"/>
          <a:stretch>
            <a:fillRect/>
          </a:stretch>
        </p:blipFill>
        <p:spPr>
          <a:xfrm>
            <a:off x="9499092" y="6269735"/>
            <a:ext cx="208787" cy="207264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74286" y="1403073"/>
            <a:ext cx="8309826" cy="115188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5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47928" y="2152870"/>
            <a:ext cx="4934585" cy="38017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5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419856" y="7228332"/>
            <a:ext cx="3218688" cy="3886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502920" y="7228332"/>
            <a:ext cx="2313432" cy="3886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19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292603" y="6436560"/>
            <a:ext cx="182245" cy="1327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50" b="0" i="0">
                <a:solidFill>
                  <a:srgbClr val="AFAAAA"/>
                </a:solidFill>
                <a:latin typeface="Arial"/>
                <a:cs typeface="Arial"/>
              </a:defRPr>
            </a:lvl1pPr>
          </a:lstStyle>
          <a:p>
            <a:pPr marL="39370">
              <a:lnSpc>
                <a:spcPct val="100000"/>
              </a:lnSpc>
              <a:spcBef>
                <a:spcPts val="35"/>
              </a:spcBef>
            </a:pPr>
            <a:fld id="{81D60167-4931-47E6-BA6A-407CBD079E47}" type="slidenum">
              <a:rPr spc="-5" dirty="0"/>
              <a:t>‹#›</a:t>
            </a:fld>
            <a:endParaRPr spc="-5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5" Type="http://schemas.openxmlformats.org/officeDocument/2006/relationships/image" Target="../media/image2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.xml"/><Relationship Id="rId5" Type="http://schemas.openxmlformats.org/officeDocument/2006/relationships/image" Target="../media/image34.png"/><Relationship Id="rId4" Type="http://schemas.openxmlformats.org/officeDocument/2006/relationships/image" Target="../media/image33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8.png"/><Relationship Id="rId18" Type="http://schemas.openxmlformats.org/officeDocument/2006/relationships/image" Target="../media/image53.png"/><Relationship Id="rId26" Type="http://schemas.openxmlformats.org/officeDocument/2006/relationships/image" Target="../media/image61.png"/><Relationship Id="rId39" Type="http://schemas.openxmlformats.org/officeDocument/2006/relationships/image" Target="../media/image74.png"/><Relationship Id="rId21" Type="http://schemas.openxmlformats.org/officeDocument/2006/relationships/image" Target="../media/image56.png"/><Relationship Id="rId34" Type="http://schemas.openxmlformats.org/officeDocument/2006/relationships/image" Target="../media/image69.png"/><Relationship Id="rId42" Type="http://schemas.openxmlformats.org/officeDocument/2006/relationships/image" Target="../media/image77.png"/><Relationship Id="rId47" Type="http://schemas.openxmlformats.org/officeDocument/2006/relationships/image" Target="../media/image82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51.png"/><Relationship Id="rId29" Type="http://schemas.openxmlformats.org/officeDocument/2006/relationships/image" Target="../media/image64.jp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1.png"/><Relationship Id="rId11" Type="http://schemas.openxmlformats.org/officeDocument/2006/relationships/image" Target="../media/image46.png"/><Relationship Id="rId24" Type="http://schemas.openxmlformats.org/officeDocument/2006/relationships/image" Target="../media/image59.jpg"/><Relationship Id="rId32" Type="http://schemas.openxmlformats.org/officeDocument/2006/relationships/image" Target="../media/image67.png"/><Relationship Id="rId37" Type="http://schemas.openxmlformats.org/officeDocument/2006/relationships/image" Target="../media/image72.png"/><Relationship Id="rId40" Type="http://schemas.openxmlformats.org/officeDocument/2006/relationships/image" Target="../media/image75.png"/><Relationship Id="rId45" Type="http://schemas.openxmlformats.org/officeDocument/2006/relationships/image" Target="../media/image80.png"/><Relationship Id="rId5" Type="http://schemas.openxmlformats.org/officeDocument/2006/relationships/image" Target="../media/image40.jpg"/><Relationship Id="rId15" Type="http://schemas.openxmlformats.org/officeDocument/2006/relationships/image" Target="../media/image50.png"/><Relationship Id="rId23" Type="http://schemas.openxmlformats.org/officeDocument/2006/relationships/image" Target="../media/image58.png"/><Relationship Id="rId28" Type="http://schemas.openxmlformats.org/officeDocument/2006/relationships/image" Target="../media/image63.png"/><Relationship Id="rId36" Type="http://schemas.openxmlformats.org/officeDocument/2006/relationships/image" Target="../media/image71.png"/><Relationship Id="rId10" Type="http://schemas.openxmlformats.org/officeDocument/2006/relationships/image" Target="../media/image45.png"/><Relationship Id="rId19" Type="http://schemas.openxmlformats.org/officeDocument/2006/relationships/image" Target="../media/image54.png"/><Relationship Id="rId31" Type="http://schemas.openxmlformats.org/officeDocument/2006/relationships/image" Target="../media/image66.png"/><Relationship Id="rId44" Type="http://schemas.openxmlformats.org/officeDocument/2006/relationships/image" Target="../media/image79.png"/><Relationship Id="rId4" Type="http://schemas.openxmlformats.org/officeDocument/2006/relationships/image" Target="../media/image39.jpg"/><Relationship Id="rId9" Type="http://schemas.openxmlformats.org/officeDocument/2006/relationships/image" Target="../media/image44.png"/><Relationship Id="rId14" Type="http://schemas.openxmlformats.org/officeDocument/2006/relationships/image" Target="../media/image49.png"/><Relationship Id="rId22" Type="http://schemas.openxmlformats.org/officeDocument/2006/relationships/image" Target="../media/image57.png"/><Relationship Id="rId27" Type="http://schemas.openxmlformats.org/officeDocument/2006/relationships/image" Target="../media/image62.png"/><Relationship Id="rId30" Type="http://schemas.openxmlformats.org/officeDocument/2006/relationships/image" Target="../media/image65.png"/><Relationship Id="rId35" Type="http://schemas.openxmlformats.org/officeDocument/2006/relationships/image" Target="../media/image70.png"/><Relationship Id="rId43" Type="http://schemas.openxmlformats.org/officeDocument/2006/relationships/image" Target="../media/image78.png"/><Relationship Id="rId8" Type="http://schemas.openxmlformats.org/officeDocument/2006/relationships/image" Target="../media/image43.jpg"/><Relationship Id="rId3" Type="http://schemas.openxmlformats.org/officeDocument/2006/relationships/image" Target="../media/image38.png"/><Relationship Id="rId12" Type="http://schemas.openxmlformats.org/officeDocument/2006/relationships/image" Target="../media/image47.png"/><Relationship Id="rId17" Type="http://schemas.openxmlformats.org/officeDocument/2006/relationships/image" Target="../media/image52.png"/><Relationship Id="rId25" Type="http://schemas.openxmlformats.org/officeDocument/2006/relationships/image" Target="../media/image60.png"/><Relationship Id="rId33" Type="http://schemas.openxmlformats.org/officeDocument/2006/relationships/image" Target="../media/image68.png"/><Relationship Id="rId38" Type="http://schemas.openxmlformats.org/officeDocument/2006/relationships/image" Target="../media/image73.png"/><Relationship Id="rId46" Type="http://schemas.openxmlformats.org/officeDocument/2006/relationships/image" Target="../media/image81.png"/><Relationship Id="rId20" Type="http://schemas.openxmlformats.org/officeDocument/2006/relationships/image" Target="../media/image55.png"/><Relationship Id="rId41" Type="http://schemas.openxmlformats.org/officeDocument/2006/relationships/image" Target="../media/image7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13" Type="http://schemas.openxmlformats.org/officeDocument/2006/relationships/image" Target="../media/image95.png"/><Relationship Id="rId18" Type="http://schemas.openxmlformats.org/officeDocument/2006/relationships/image" Target="../media/image100.png"/><Relationship Id="rId3" Type="http://schemas.openxmlformats.org/officeDocument/2006/relationships/image" Target="../media/image86.png"/><Relationship Id="rId7" Type="http://schemas.openxmlformats.org/officeDocument/2006/relationships/image" Target="../media/image90.png"/><Relationship Id="rId12" Type="http://schemas.openxmlformats.org/officeDocument/2006/relationships/image" Target="../media/image94.png"/><Relationship Id="rId17" Type="http://schemas.openxmlformats.org/officeDocument/2006/relationships/image" Target="../media/image99.pn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98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9.png"/><Relationship Id="rId11" Type="http://schemas.openxmlformats.org/officeDocument/2006/relationships/image" Target="../media/image93.png"/><Relationship Id="rId5" Type="http://schemas.openxmlformats.org/officeDocument/2006/relationships/image" Target="../media/image88.png"/><Relationship Id="rId15" Type="http://schemas.openxmlformats.org/officeDocument/2006/relationships/image" Target="../media/image97.png"/><Relationship Id="rId10" Type="http://schemas.openxmlformats.org/officeDocument/2006/relationships/hyperlink" Target="https://www.youracclaim.com/org/comptia/badge/comptia-security-ce-certification" TargetMode="External"/><Relationship Id="rId19" Type="http://schemas.openxmlformats.org/officeDocument/2006/relationships/image" Target="../media/image101.png"/><Relationship Id="rId4" Type="http://schemas.openxmlformats.org/officeDocument/2006/relationships/image" Target="../media/image87.png"/><Relationship Id="rId9" Type="http://schemas.openxmlformats.org/officeDocument/2006/relationships/image" Target="../media/image92.png"/><Relationship Id="rId14" Type="http://schemas.openxmlformats.org/officeDocument/2006/relationships/image" Target="../media/image96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3.png"/><Relationship Id="rId3" Type="http://schemas.openxmlformats.org/officeDocument/2006/relationships/hyperlink" Target="https://www.credly.com/org/sas/badge/sas-rmit-academic-specialisation-in-analytics" TargetMode="External"/><Relationship Id="rId7" Type="http://schemas.openxmlformats.org/officeDocument/2006/relationships/hyperlink" Target="https://www.credly.com/org/boston-university/badge/mini-mba-for-tech-executives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12.png"/><Relationship Id="rId5" Type="http://schemas.openxmlformats.org/officeDocument/2006/relationships/hyperlink" Target="https://www.credly.com/org/madison-college/badge/core-workforce-skills-critical-thinking-v-01" TargetMode="External"/><Relationship Id="rId10" Type="http://schemas.openxmlformats.org/officeDocument/2006/relationships/image" Target="../media/image114.png"/><Relationship Id="rId4" Type="http://schemas.openxmlformats.org/officeDocument/2006/relationships/image" Target="../media/image111.png"/><Relationship Id="rId9" Type="http://schemas.openxmlformats.org/officeDocument/2006/relationships/hyperlink" Target="https://www.credly.com/org/northeastern-university/badge/bloomberg-market-concepts-certification" TargetMode="Externa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2.jpg"/><Relationship Id="rId4" Type="http://schemas.openxmlformats.org/officeDocument/2006/relationships/image" Target="../media/image12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hyperlink" Target="https://www.youracclaim.com/org/project-management-institute/badge/project-management-professional-pmp" TargetMode="External"/><Relationship Id="rId7" Type="http://schemas.openxmlformats.org/officeDocument/2006/relationships/hyperlink" Target="https://www.youracclaim.com/org/kennesaw-state-university/badge/professional-selling-fundamentals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3.png"/><Relationship Id="rId5" Type="http://schemas.openxmlformats.org/officeDocument/2006/relationships/hyperlink" Target="https://www.youracclaim.com/org/boston-university/badge/pharmacy-leadership-institute" TargetMode="External"/><Relationship Id="rId10" Type="http://schemas.openxmlformats.org/officeDocument/2006/relationships/image" Target="../media/image25.png"/><Relationship Id="rId4" Type="http://schemas.openxmlformats.org/officeDocument/2006/relationships/image" Target="../media/image22.png"/><Relationship Id="rId9" Type="http://schemas.openxmlformats.org/officeDocument/2006/relationships/hyperlink" Target="https://www.youracclaim.com/org/nc-state-executive-education/badge/data-science-pro-i-iii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1057655"/>
            <a:ext cx="10058400" cy="5659120"/>
            <a:chOff x="0" y="1057655"/>
            <a:chExt cx="10058400" cy="5659120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1057655"/>
              <a:ext cx="10058400" cy="5658611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0" y="1057655"/>
              <a:ext cx="10058400" cy="190500"/>
            </a:xfrm>
            <a:custGeom>
              <a:avLst/>
              <a:gdLst/>
              <a:ahLst/>
              <a:cxnLst/>
              <a:rect l="l" t="t" r="r" b="b"/>
              <a:pathLst>
                <a:path w="10058400" h="190500">
                  <a:moveTo>
                    <a:pt x="10058400" y="190499"/>
                  </a:moveTo>
                  <a:lnTo>
                    <a:pt x="0" y="190499"/>
                  </a:lnTo>
                  <a:lnTo>
                    <a:pt x="0" y="0"/>
                  </a:lnTo>
                  <a:lnTo>
                    <a:pt x="10058400" y="0"/>
                  </a:lnTo>
                  <a:lnTo>
                    <a:pt x="10058400" y="190499"/>
                  </a:lnTo>
                  <a:close/>
                </a:path>
              </a:pathLst>
            </a:custGeom>
            <a:solidFill>
              <a:srgbClr val="FFD6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994659" y="2962655"/>
              <a:ext cx="123443" cy="184404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214116" y="2962655"/>
              <a:ext cx="115824" cy="187452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3427476" y="2962655"/>
              <a:ext cx="121920" cy="184404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3642359" y="2962655"/>
              <a:ext cx="115824" cy="187451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3997452" y="2962655"/>
              <a:ext cx="140208" cy="187451"/>
            </a:xfrm>
            <a:prstGeom prst="rect">
              <a:avLst/>
            </a:prstGeom>
          </p:spPr>
        </p:pic>
        <p:sp>
          <p:nvSpPr>
            <p:cNvPr id="10" name="object 10"/>
            <p:cNvSpPr/>
            <p:nvPr/>
          </p:nvSpPr>
          <p:spPr>
            <a:xfrm>
              <a:off x="4250423" y="2965462"/>
              <a:ext cx="116205" cy="181610"/>
            </a:xfrm>
            <a:custGeom>
              <a:avLst/>
              <a:gdLst/>
              <a:ahLst/>
              <a:cxnLst/>
              <a:rect l="l" t="t" r="r" b="b"/>
              <a:pathLst>
                <a:path w="116204" h="181610">
                  <a:moveTo>
                    <a:pt x="115824" y="163830"/>
                  </a:moveTo>
                  <a:lnTo>
                    <a:pt x="24384" y="163830"/>
                  </a:lnTo>
                  <a:lnTo>
                    <a:pt x="24384" y="97790"/>
                  </a:lnTo>
                  <a:lnTo>
                    <a:pt x="102108" y="97790"/>
                  </a:lnTo>
                  <a:lnTo>
                    <a:pt x="102108" y="77470"/>
                  </a:lnTo>
                  <a:lnTo>
                    <a:pt x="24384" y="77470"/>
                  </a:lnTo>
                  <a:lnTo>
                    <a:pt x="24384" y="20320"/>
                  </a:lnTo>
                  <a:lnTo>
                    <a:pt x="114300" y="20320"/>
                  </a:lnTo>
                  <a:lnTo>
                    <a:pt x="114300" y="0"/>
                  </a:lnTo>
                  <a:lnTo>
                    <a:pt x="0" y="0"/>
                  </a:lnTo>
                  <a:lnTo>
                    <a:pt x="0" y="20320"/>
                  </a:lnTo>
                  <a:lnTo>
                    <a:pt x="0" y="77470"/>
                  </a:lnTo>
                  <a:lnTo>
                    <a:pt x="0" y="97790"/>
                  </a:lnTo>
                  <a:lnTo>
                    <a:pt x="0" y="163830"/>
                  </a:lnTo>
                  <a:lnTo>
                    <a:pt x="0" y="181610"/>
                  </a:lnTo>
                  <a:lnTo>
                    <a:pt x="115824" y="181610"/>
                  </a:lnTo>
                  <a:lnTo>
                    <a:pt x="115824" y="163830"/>
                  </a:lnTo>
                  <a:close/>
                </a:path>
              </a:pathLst>
            </a:custGeom>
            <a:solidFill>
              <a:srgbClr val="0083A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1" name="object 11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4835652" y="2962655"/>
              <a:ext cx="141732" cy="187451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4466844" y="2965704"/>
              <a:ext cx="132588" cy="181355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5074920" y="2962655"/>
              <a:ext cx="146304" cy="187452"/>
            </a:xfrm>
            <a:prstGeom prst="rect">
              <a:avLst/>
            </a:prstGeom>
          </p:spPr>
        </p:pic>
        <p:pic>
          <p:nvPicPr>
            <p:cNvPr id="14" name="object 14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5329427" y="2965703"/>
              <a:ext cx="140208" cy="181356"/>
            </a:xfrm>
            <a:prstGeom prst="rect">
              <a:avLst/>
            </a:prstGeom>
          </p:spPr>
        </p:pic>
        <p:sp>
          <p:nvSpPr>
            <p:cNvPr id="15" name="object 15"/>
            <p:cNvSpPr/>
            <p:nvPr/>
          </p:nvSpPr>
          <p:spPr>
            <a:xfrm>
              <a:off x="5583923" y="2965462"/>
              <a:ext cx="329565" cy="181610"/>
            </a:xfrm>
            <a:custGeom>
              <a:avLst/>
              <a:gdLst/>
              <a:ahLst/>
              <a:cxnLst/>
              <a:rect l="l" t="t" r="r" b="b"/>
              <a:pathLst>
                <a:path w="329564" h="181610">
                  <a:moveTo>
                    <a:pt x="112776" y="749"/>
                  </a:moveTo>
                  <a:lnTo>
                    <a:pt x="0" y="749"/>
                  </a:lnTo>
                  <a:lnTo>
                    <a:pt x="0" y="19799"/>
                  </a:lnTo>
                  <a:lnTo>
                    <a:pt x="0" y="82029"/>
                  </a:lnTo>
                  <a:lnTo>
                    <a:pt x="0" y="102349"/>
                  </a:lnTo>
                  <a:lnTo>
                    <a:pt x="0" y="181089"/>
                  </a:lnTo>
                  <a:lnTo>
                    <a:pt x="24384" y="181089"/>
                  </a:lnTo>
                  <a:lnTo>
                    <a:pt x="24384" y="102349"/>
                  </a:lnTo>
                  <a:lnTo>
                    <a:pt x="100584" y="102349"/>
                  </a:lnTo>
                  <a:lnTo>
                    <a:pt x="100584" y="82029"/>
                  </a:lnTo>
                  <a:lnTo>
                    <a:pt x="24384" y="82029"/>
                  </a:lnTo>
                  <a:lnTo>
                    <a:pt x="24384" y="19799"/>
                  </a:lnTo>
                  <a:lnTo>
                    <a:pt x="112776" y="19799"/>
                  </a:lnTo>
                  <a:lnTo>
                    <a:pt x="112776" y="749"/>
                  </a:lnTo>
                  <a:close/>
                </a:path>
                <a:path w="329564" h="181610">
                  <a:moveTo>
                    <a:pt x="329196" y="163830"/>
                  </a:moveTo>
                  <a:lnTo>
                    <a:pt x="237756" y="163830"/>
                  </a:lnTo>
                  <a:lnTo>
                    <a:pt x="237756" y="97790"/>
                  </a:lnTo>
                  <a:lnTo>
                    <a:pt x="317004" y="97790"/>
                  </a:lnTo>
                  <a:lnTo>
                    <a:pt x="317004" y="77470"/>
                  </a:lnTo>
                  <a:lnTo>
                    <a:pt x="237756" y="77470"/>
                  </a:lnTo>
                  <a:lnTo>
                    <a:pt x="237756" y="20320"/>
                  </a:lnTo>
                  <a:lnTo>
                    <a:pt x="327672" y="20320"/>
                  </a:lnTo>
                  <a:lnTo>
                    <a:pt x="327672" y="0"/>
                  </a:lnTo>
                  <a:lnTo>
                    <a:pt x="213372" y="0"/>
                  </a:lnTo>
                  <a:lnTo>
                    <a:pt x="213372" y="20320"/>
                  </a:lnTo>
                  <a:lnTo>
                    <a:pt x="213372" y="77470"/>
                  </a:lnTo>
                  <a:lnTo>
                    <a:pt x="213372" y="97790"/>
                  </a:lnTo>
                  <a:lnTo>
                    <a:pt x="213372" y="163830"/>
                  </a:lnTo>
                  <a:lnTo>
                    <a:pt x="213372" y="181610"/>
                  </a:lnTo>
                  <a:lnTo>
                    <a:pt x="329196" y="181610"/>
                  </a:lnTo>
                  <a:lnTo>
                    <a:pt x="329196" y="163830"/>
                  </a:lnTo>
                  <a:close/>
                </a:path>
              </a:pathLst>
            </a:custGeom>
            <a:solidFill>
              <a:srgbClr val="0083A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6" name="object 16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6015228" y="2965704"/>
              <a:ext cx="132588" cy="181356"/>
            </a:xfrm>
            <a:prstGeom prst="rect">
              <a:avLst/>
            </a:prstGeom>
          </p:spPr>
        </p:pic>
        <p:sp>
          <p:nvSpPr>
            <p:cNvPr id="17" name="object 17"/>
            <p:cNvSpPr/>
            <p:nvPr/>
          </p:nvSpPr>
          <p:spPr>
            <a:xfrm>
              <a:off x="6245352" y="2965462"/>
              <a:ext cx="116205" cy="181610"/>
            </a:xfrm>
            <a:custGeom>
              <a:avLst/>
              <a:gdLst/>
              <a:ahLst/>
              <a:cxnLst/>
              <a:rect l="l" t="t" r="r" b="b"/>
              <a:pathLst>
                <a:path w="116204" h="181610">
                  <a:moveTo>
                    <a:pt x="115824" y="163830"/>
                  </a:moveTo>
                  <a:lnTo>
                    <a:pt x="24384" y="163830"/>
                  </a:lnTo>
                  <a:lnTo>
                    <a:pt x="24384" y="97790"/>
                  </a:lnTo>
                  <a:lnTo>
                    <a:pt x="102108" y="97790"/>
                  </a:lnTo>
                  <a:lnTo>
                    <a:pt x="102108" y="77470"/>
                  </a:lnTo>
                  <a:lnTo>
                    <a:pt x="24384" y="77470"/>
                  </a:lnTo>
                  <a:lnTo>
                    <a:pt x="24384" y="20320"/>
                  </a:lnTo>
                  <a:lnTo>
                    <a:pt x="114300" y="20320"/>
                  </a:lnTo>
                  <a:lnTo>
                    <a:pt x="114300" y="0"/>
                  </a:lnTo>
                  <a:lnTo>
                    <a:pt x="0" y="0"/>
                  </a:lnTo>
                  <a:lnTo>
                    <a:pt x="0" y="20320"/>
                  </a:lnTo>
                  <a:lnTo>
                    <a:pt x="0" y="77470"/>
                  </a:lnTo>
                  <a:lnTo>
                    <a:pt x="0" y="97790"/>
                  </a:lnTo>
                  <a:lnTo>
                    <a:pt x="0" y="163830"/>
                  </a:lnTo>
                  <a:lnTo>
                    <a:pt x="0" y="181610"/>
                  </a:lnTo>
                  <a:lnTo>
                    <a:pt x="115824" y="181610"/>
                  </a:lnTo>
                  <a:lnTo>
                    <a:pt x="115824" y="163830"/>
                  </a:lnTo>
                  <a:close/>
                </a:path>
              </a:pathLst>
            </a:custGeom>
            <a:solidFill>
              <a:srgbClr val="0083A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8" name="object 18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6461759" y="2965703"/>
              <a:ext cx="140208" cy="181356"/>
            </a:xfrm>
            <a:prstGeom prst="rect">
              <a:avLst/>
            </a:prstGeom>
          </p:spPr>
        </p:pic>
        <p:pic>
          <p:nvPicPr>
            <p:cNvPr id="19" name="object 19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6710171" y="2962655"/>
              <a:ext cx="141731" cy="187451"/>
            </a:xfrm>
            <a:prstGeom prst="rect">
              <a:avLst/>
            </a:prstGeom>
          </p:spPr>
        </p:pic>
        <p:sp>
          <p:nvSpPr>
            <p:cNvPr id="20" name="object 20"/>
            <p:cNvSpPr/>
            <p:nvPr/>
          </p:nvSpPr>
          <p:spPr>
            <a:xfrm>
              <a:off x="2313419" y="1972055"/>
              <a:ext cx="4758055" cy="1175385"/>
            </a:xfrm>
            <a:custGeom>
              <a:avLst/>
              <a:gdLst/>
              <a:ahLst/>
              <a:cxnLst/>
              <a:rect l="l" t="t" r="r" b="b"/>
              <a:pathLst>
                <a:path w="4758055" h="1175385">
                  <a:moveTo>
                    <a:pt x="614172" y="12204"/>
                  </a:moveTo>
                  <a:lnTo>
                    <a:pt x="539496" y="12204"/>
                  </a:lnTo>
                  <a:lnTo>
                    <a:pt x="324612" y="498360"/>
                  </a:lnTo>
                  <a:lnTo>
                    <a:pt x="108204" y="12204"/>
                  </a:lnTo>
                  <a:lnTo>
                    <a:pt x="28956" y="12204"/>
                  </a:lnTo>
                  <a:lnTo>
                    <a:pt x="283464" y="583704"/>
                  </a:lnTo>
                  <a:lnTo>
                    <a:pt x="259080" y="638568"/>
                  </a:lnTo>
                  <a:lnTo>
                    <a:pt x="233743" y="683336"/>
                  </a:lnTo>
                  <a:lnTo>
                    <a:pt x="207264" y="713244"/>
                  </a:lnTo>
                  <a:lnTo>
                    <a:pt x="159054" y="733171"/>
                  </a:lnTo>
                  <a:lnTo>
                    <a:pt x="140208" y="734580"/>
                  </a:lnTo>
                  <a:lnTo>
                    <a:pt x="110731" y="731977"/>
                  </a:lnTo>
                  <a:lnTo>
                    <a:pt x="83820" y="724103"/>
                  </a:lnTo>
                  <a:lnTo>
                    <a:pt x="59207" y="710780"/>
                  </a:lnTo>
                  <a:lnTo>
                    <a:pt x="36576" y="691908"/>
                  </a:lnTo>
                  <a:lnTo>
                    <a:pt x="0" y="748296"/>
                  </a:lnTo>
                  <a:lnTo>
                    <a:pt x="45008" y="781075"/>
                  </a:lnTo>
                  <a:lnTo>
                    <a:pt x="99631" y="797445"/>
                  </a:lnTo>
                  <a:lnTo>
                    <a:pt x="140208" y="800112"/>
                  </a:lnTo>
                  <a:lnTo>
                    <a:pt x="170192" y="798106"/>
                  </a:lnTo>
                  <a:lnTo>
                    <a:pt x="224434" y="782104"/>
                  </a:lnTo>
                  <a:lnTo>
                    <a:pt x="270687" y="748080"/>
                  </a:lnTo>
                  <a:lnTo>
                    <a:pt x="311213" y="690308"/>
                  </a:lnTo>
                  <a:lnTo>
                    <a:pt x="329184" y="652284"/>
                  </a:lnTo>
                  <a:lnTo>
                    <a:pt x="614172" y="12204"/>
                  </a:lnTo>
                  <a:close/>
                </a:path>
                <a:path w="4758055" h="1175385">
                  <a:moveTo>
                    <a:pt x="1182636" y="298716"/>
                  </a:moveTo>
                  <a:lnTo>
                    <a:pt x="1180350" y="257771"/>
                  </a:lnTo>
                  <a:lnTo>
                    <a:pt x="1173492" y="219278"/>
                  </a:lnTo>
                  <a:lnTo>
                    <a:pt x="1162062" y="182765"/>
                  </a:lnTo>
                  <a:lnTo>
                    <a:pt x="1146060" y="147840"/>
                  </a:lnTo>
                  <a:lnTo>
                    <a:pt x="1104912" y="94272"/>
                  </a:lnTo>
                  <a:lnTo>
                    <a:pt x="1104912" y="298716"/>
                  </a:lnTo>
                  <a:lnTo>
                    <a:pt x="1103198" y="330098"/>
                  </a:lnTo>
                  <a:lnTo>
                    <a:pt x="1089482" y="388289"/>
                  </a:lnTo>
                  <a:lnTo>
                    <a:pt x="1062596" y="439127"/>
                  </a:lnTo>
                  <a:lnTo>
                    <a:pt x="1025398" y="478612"/>
                  </a:lnTo>
                  <a:lnTo>
                    <a:pt x="977938" y="505790"/>
                  </a:lnTo>
                  <a:lnTo>
                    <a:pt x="923074" y="519506"/>
                  </a:lnTo>
                  <a:lnTo>
                    <a:pt x="893076" y="521220"/>
                  </a:lnTo>
                  <a:lnTo>
                    <a:pt x="863942" y="519506"/>
                  </a:lnTo>
                  <a:lnTo>
                    <a:pt x="809701" y="505790"/>
                  </a:lnTo>
                  <a:lnTo>
                    <a:pt x="761390" y="478612"/>
                  </a:lnTo>
                  <a:lnTo>
                    <a:pt x="723569" y="439127"/>
                  </a:lnTo>
                  <a:lnTo>
                    <a:pt x="696023" y="388289"/>
                  </a:lnTo>
                  <a:lnTo>
                    <a:pt x="682739" y="330098"/>
                  </a:lnTo>
                  <a:lnTo>
                    <a:pt x="681240" y="298716"/>
                  </a:lnTo>
                  <a:lnTo>
                    <a:pt x="682739" y="266661"/>
                  </a:lnTo>
                  <a:lnTo>
                    <a:pt x="696023" y="208267"/>
                  </a:lnTo>
                  <a:lnTo>
                    <a:pt x="723569" y="157645"/>
                  </a:lnTo>
                  <a:lnTo>
                    <a:pt x="761390" y="118783"/>
                  </a:lnTo>
                  <a:lnTo>
                    <a:pt x="809701" y="91401"/>
                  </a:lnTo>
                  <a:lnTo>
                    <a:pt x="863942" y="76631"/>
                  </a:lnTo>
                  <a:lnTo>
                    <a:pt x="893076" y="74688"/>
                  </a:lnTo>
                  <a:lnTo>
                    <a:pt x="923074" y="76631"/>
                  </a:lnTo>
                  <a:lnTo>
                    <a:pt x="977938" y="91401"/>
                  </a:lnTo>
                  <a:lnTo>
                    <a:pt x="1025398" y="118783"/>
                  </a:lnTo>
                  <a:lnTo>
                    <a:pt x="1062596" y="157645"/>
                  </a:lnTo>
                  <a:lnTo>
                    <a:pt x="1089482" y="208267"/>
                  </a:lnTo>
                  <a:lnTo>
                    <a:pt x="1103198" y="266661"/>
                  </a:lnTo>
                  <a:lnTo>
                    <a:pt x="1104912" y="298716"/>
                  </a:lnTo>
                  <a:lnTo>
                    <a:pt x="1104912" y="94272"/>
                  </a:lnTo>
                  <a:lnTo>
                    <a:pt x="1100531" y="89357"/>
                  </a:lnTo>
                  <a:lnTo>
                    <a:pt x="1083398" y="74688"/>
                  </a:lnTo>
                  <a:lnTo>
                    <a:pt x="1072972" y="65747"/>
                  </a:lnTo>
                  <a:lnTo>
                    <a:pt x="1008151" y="28841"/>
                  </a:lnTo>
                  <a:lnTo>
                    <a:pt x="971753" y="16967"/>
                  </a:lnTo>
                  <a:lnTo>
                    <a:pt x="933335" y="9931"/>
                  </a:lnTo>
                  <a:lnTo>
                    <a:pt x="893076" y="7632"/>
                  </a:lnTo>
                  <a:lnTo>
                    <a:pt x="853046" y="9931"/>
                  </a:lnTo>
                  <a:lnTo>
                    <a:pt x="815162" y="16967"/>
                  </a:lnTo>
                  <a:lnTo>
                    <a:pt x="745248" y="45732"/>
                  </a:lnTo>
                  <a:lnTo>
                    <a:pt x="685812" y="89357"/>
                  </a:lnTo>
                  <a:lnTo>
                    <a:pt x="640092" y="147840"/>
                  </a:lnTo>
                  <a:lnTo>
                    <a:pt x="623849" y="182765"/>
                  </a:lnTo>
                  <a:lnTo>
                    <a:pt x="611898" y="219278"/>
                  </a:lnTo>
                  <a:lnTo>
                    <a:pt x="604507" y="257771"/>
                  </a:lnTo>
                  <a:lnTo>
                    <a:pt x="601992" y="298716"/>
                  </a:lnTo>
                  <a:lnTo>
                    <a:pt x="604507" y="338975"/>
                  </a:lnTo>
                  <a:lnTo>
                    <a:pt x="611898" y="377393"/>
                  </a:lnTo>
                  <a:lnTo>
                    <a:pt x="623849" y="413791"/>
                  </a:lnTo>
                  <a:lnTo>
                    <a:pt x="661238" y="479501"/>
                  </a:lnTo>
                  <a:lnTo>
                    <a:pt x="713816" y="532079"/>
                  </a:lnTo>
                  <a:lnTo>
                    <a:pt x="779272" y="569226"/>
                  </a:lnTo>
                  <a:lnTo>
                    <a:pt x="853046" y="587514"/>
                  </a:lnTo>
                  <a:lnTo>
                    <a:pt x="893076" y="589800"/>
                  </a:lnTo>
                  <a:lnTo>
                    <a:pt x="933335" y="587514"/>
                  </a:lnTo>
                  <a:lnTo>
                    <a:pt x="971753" y="580656"/>
                  </a:lnTo>
                  <a:lnTo>
                    <a:pt x="1008151" y="569226"/>
                  </a:lnTo>
                  <a:lnTo>
                    <a:pt x="1072972" y="532079"/>
                  </a:lnTo>
                  <a:lnTo>
                    <a:pt x="1124927" y="479501"/>
                  </a:lnTo>
                  <a:lnTo>
                    <a:pt x="1162062" y="413791"/>
                  </a:lnTo>
                  <a:lnTo>
                    <a:pt x="1173492" y="377393"/>
                  </a:lnTo>
                  <a:lnTo>
                    <a:pt x="1180350" y="338975"/>
                  </a:lnTo>
                  <a:lnTo>
                    <a:pt x="1182636" y="298716"/>
                  </a:lnTo>
                  <a:close/>
                </a:path>
                <a:path w="4758055" h="1175385">
                  <a:moveTo>
                    <a:pt x="1876044" y="0"/>
                  </a:moveTo>
                  <a:lnTo>
                    <a:pt x="1706880" y="0"/>
                  </a:lnTo>
                  <a:lnTo>
                    <a:pt x="1706880" y="374904"/>
                  </a:lnTo>
                  <a:lnTo>
                    <a:pt x="1699526" y="400532"/>
                  </a:lnTo>
                  <a:lnTo>
                    <a:pt x="1676234" y="446062"/>
                  </a:lnTo>
                  <a:lnTo>
                    <a:pt x="1632572" y="489064"/>
                  </a:lnTo>
                  <a:lnTo>
                    <a:pt x="1561084" y="517550"/>
                  </a:lnTo>
                  <a:lnTo>
                    <a:pt x="1517904" y="521208"/>
                  </a:lnTo>
                  <a:lnTo>
                    <a:pt x="1479067" y="518121"/>
                  </a:lnTo>
                  <a:lnTo>
                    <a:pt x="1415681" y="494207"/>
                  </a:lnTo>
                  <a:lnTo>
                    <a:pt x="1372298" y="447395"/>
                  </a:lnTo>
                  <a:lnTo>
                    <a:pt x="1350060" y="378815"/>
                  </a:lnTo>
                  <a:lnTo>
                    <a:pt x="1347216" y="336804"/>
                  </a:lnTo>
                  <a:lnTo>
                    <a:pt x="1347216" y="12192"/>
                  </a:lnTo>
                  <a:lnTo>
                    <a:pt x="1269492" y="12192"/>
                  </a:lnTo>
                  <a:lnTo>
                    <a:pt x="1269492" y="344424"/>
                  </a:lnTo>
                  <a:lnTo>
                    <a:pt x="1273517" y="401294"/>
                  </a:lnTo>
                  <a:lnTo>
                    <a:pt x="1285684" y="450723"/>
                  </a:lnTo>
                  <a:lnTo>
                    <a:pt x="1306144" y="492734"/>
                  </a:lnTo>
                  <a:lnTo>
                    <a:pt x="1335024" y="527304"/>
                  </a:lnTo>
                  <a:lnTo>
                    <a:pt x="1369910" y="555078"/>
                  </a:lnTo>
                  <a:lnTo>
                    <a:pt x="1410652" y="574548"/>
                  </a:lnTo>
                  <a:lnTo>
                    <a:pt x="1457401" y="586028"/>
                  </a:lnTo>
                  <a:lnTo>
                    <a:pt x="1510284" y="589788"/>
                  </a:lnTo>
                  <a:lnTo>
                    <a:pt x="1543697" y="588060"/>
                  </a:lnTo>
                  <a:lnTo>
                    <a:pt x="1604797" y="573722"/>
                  </a:lnTo>
                  <a:lnTo>
                    <a:pt x="1653946" y="548005"/>
                  </a:lnTo>
                  <a:lnTo>
                    <a:pt x="1691144" y="514337"/>
                  </a:lnTo>
                  <a:lnTo>
                    <a:pt x="1706880" y="493776"/>
                  </a:lnTo>
                  <a:lnTo>
                    <a:pt x="1706880" y="585216"/>
                  </a:lnTo>
                  <a:lnTo>
                    <a:pt x="1876044" y="585216"/>
                  </a:lnTo>
                  <a:lnTo>
                    <a:pt x="1876044" y="0"/>
                  </a:lnTo>
                  <a:close/>
                </a:path>
                <a:path w="4758055" h="1175385">
                  <a:moveTo>
                    <a:pt x="4757928" y="1157236"/>
                  </a:moveTo>
                  <a:lnTo>
                    <a:pt x="4666488" y="1157236"/>
                  </a:lnTo>
                  <a:lnTo>
                    <a:pt x="4666488" y="1091196"/>
                  </a:lnTo>
                  <a:lnTo>
                    <a:pt x="4745736" y="1091196"/>
                  </a:lnTo>
                  <a:lnTo>
                    <a:pt x="4745736" y="1070876"/>
                  </a:lnTo>
                  <a:lnTo>
                    <a:pt x="4666488" y="1070876"/>
                  </a:lnTo>
                  <a:lnTo>
                    <a:pt x="4666488" y="1013726"/>
                  </a:lnTo>
                  <a:lnTo>
                    <a:pt x="4756404" y="1013726"/>
                  </a:lnTo>
                  <a:lnTo>
                    <a:pt x="4756404" y="993406"/>
                  </a:lnTo>
                  <a:lnTo>
                    <a:pt x="4642104" y="993406"/>
                  </a:lnTo>
                  <a:lnTo>
                    <a:pt x="4642104" y="1013726"/>
                  </a:lnTo>
                  <a:lnTo>
                    <a:pt x="4642104" y="1070876"/>
                  </a:lnTo>
                  <a:lnTo>
                    <a:pt x="4642104" y="1091196"/>
                  </a:lnTo>
                  <a:lnTo>
                    <a:pt x="4642104" y="1157236"/>
                  </a:lnTo>
                  <a:lnTo>
                    <a:pt x="4642104" y="1175016"/>
                  </a:lnTo>
                  <a:lnTo>
                    <a:pt x="4757928" y="1175016"/>
                  </a:lnTo>
                  <a:lnTo>
                    <a:pt x="4757928" y="1157236"/>
                  </a:lnTo>
                  <a:close/>
                </a:path>
              </a:pathLst>
            </a:custGeom>
            <a:solidFill>
              <a:srgbClr val="0083A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3895344" y="1504187"/>
              <a:ext cx="417830" cy="398145"/>
            </a:xfrm>
            <a:custGeom>
              <a:avLst/>
              <a:gdLst/>
              <a:ahLst/>
              <a:cxnLst/>
              <a:rect l="l" t="t" r="r" b="b"/>
              <a:pathLst>
                <a:path w="417829" h="398144">
                  <a:moveTo>
                    <a:pt x="338327" y="397763"/>
                  </a:moveTo>
                  <a:lnTo>
                    <a:pt x="208787" y="303276"/>
                  </a:lnTo>
                  <a:lnTo>
                    <a:pt x="80771" y="397763"/>
                  </a:lnTo>
                  <a:lnTo>
                    <a:pt x="129539" y="245364"/>
                  </a:lnTo>
                  <a:lnTo>
                    <a:pt x="0" y="152400"/>
                  </a:lnTo>
                  <a:lnTo>
                    <a:pt x="160019" y="152400"/>
                  </a:lnTo>
                  <a:lnTo>
                    <a:pt x="208787" y="0"/>
                  </a:lnTo>
                  <a:lnTo>
                    <a:pt x="259079" y="152400"/>
                  </a:lnTo>
                  <a:lnTo>
                    <a:pt x="417575" y="152400"/>
                  </a:lnTo>
                  <a:lnTo>
                    <a:pt x="289559" y="245364"/>
                  </a:lnTo>
                  <a:lnTo>
                    <a:pt x="338327" y="397763"/>
                  </a:lnTo>
                  <a:close/>
                </a:path>
              </a:pathLst>
            </a:custGeom>
            <a:solidFill>
              <a:srgbClr val="FFC10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4346448" y="1700783"/>
              <a:ext cx="3430904" cy="1067435"/>
            </a:xfrm>
            <a:custGeom>
              <a:avLst/>
              <a:gdLst/>
              <a:ahLst/>
              <a:cxnLst/>
              <a:rect l="l" t="t" r="r" b="b"/>
              <a:pathLst>
                <a:path w="3430904" h="1067435">
                  <a:moveTo>
                    <a:pt x="597408" y="521220"/>
                  </a:moveTo>
                  <a:lnTo>
                    <a:pt x="593140" y="460971"/>
                  </a:lnTo>
                  <a:lnTo>
                    <a:pt x="580453" y="408444"/>
                  </a:lnTo>
                  <a:lnTo>
                    <a:pt x="559473" y="363905"/>
                  </a:lnTo>
                  <a:lnTo>
                    <a:pt x="530352" y="327672"/>
                  </a:lnTo>
                  <a:lnTo>
                    <a:pt x="494385" y="298780"/>
                  </a:lnTo>
                  <a:lnTo>
                    <a:pt x="453009" y="278333"/>
                  </a:lnTo>
                  <a:lnTo>
                    <a:pt x="406476" y="266153"/>
                  </a:lnTo>
                  <a:lnTo>
                    <a:pt x="355092" y="262140"/>
                  </a:lnTo>
                  <a:lnTo>
                    <a:pt x="325945" y="263296"/>
                  </a:lnTo>
                  <a:lnTo>
                    <a:pt x="271081" y="273062"/>
                  </a:lnTo>
                  <a:lnTo>
                    <a:pt x="221335" y="293141"/>
                  </a:lnTo>
                  <a:lnTo>
                    <a:pt x="179565" y="321805"/>
                  </a:lnTo>
                  <a:lnTo>
                    <a:pt x="161531" y="339864"/>
                  </a:lnTo>
                  <a:lnTo>
                    <a:pt x="161531" y="271284"/>
                  </a:lnTo>
                  <a:lnTo>
                    <a:pt x="0" y="271284"/>
                  </a:lnTo>
                  <a:lnTo>
                    <a:pt x="0" y="856500"/>
                  </a:lnTo>
                  <a:lnTo>
                    <a:pt x="169164" y="856500"/>
                  </a:lnTo>
                  <a:lnTo>
                    <a:pt x="169164" y="566940"/>
                  </a:lnTo>
                  <a:lnTo>
                    <a:pt x="171678" y="529717"/>
                  </a:lnTo>
                  <a:lnTo>
                    <a:pt x="191020" y="470712"/>
                  </a:lnTo>
                  <a:lnTo>
                    <a:pt x="228142" y="430936"/>
                  </a:lnTo>
                  <a:lnTo>
                    <a:pt x="279057" y="410984"/>
                  </a:lnTo>
                  <a:lnTo>
                    <a:pt x="309359" y="408444"/>
                  </a:lnTo>
                  <a:lnTo>
                    <a:pt x="336219" y="410705"/>
                  </a:lnTo>
                  <a:lnTo>
                    <a:pt x="379653" y="428371"/>
                  </a:lnTo>
                  <a:lnTo>
                    <a:pt x="410235" y="462902"/>
                  </a:lnTo>
                  <a:lnTo>
                    <a:pt x="426237" y="514858"/>
                  </a:lnTo>
                  <a:lnTo>
                    <a:pt x="428244" y="547128"/>
                  </a:lnTo>
                  <a:lnTo>
                    <a:pt x="428244" y="856500"/>
                  </a:lnTo>
                  <a:lnTo>
                    <a:pt x="597408" y="856500"/>
                  </a:lnTo>
                  <a:lnTo>
                    <a:pt x="597408" y="521220"/>
                  </a:lnTo>
                  <a:close/>
                </a:path>
                <a:path w="3430904" h="1067435">
                  <a:moveTo>
                    <a:pt x="1222235" y="678180"/>
                  </a:moveTo>
                  <a:lnTo>
                    <a:pt x="1213472" y="621220"/>
                  </a:lnTo>
                  <a:lnTo>
                    <a:pt x="1188707" y="579120"/>
                  </a:lnTo>
                  <a:lnTo>
                    <a:pt x="1151940" y="548259"/>
                  </a:lnTo>
                  <a:lnTo>
                    <a:pt x="1109459" y="528828"/>
                  </a:lnTo>
                  <a:lnTo>
                    <a:pt x="1057071" y="515874"/>
                  </a:lnTo>
                  <a:lnTo>
                    <a:pt x="992111" y="502920"/>
                  </a:lnTo>
                  <a:lnTo>
                    <a:pt x="962164" y="498119"/>
                  </a:lnTo>
                  <a:lnTo>
                    <a:pt x="936485" y="493014"/>
                  </a:lnTo>
                  <a:lnTo>
                    <a:pt x="899147" y="483108"/>
                  </a:lnTo>
                  <a:lnTo>
                    <a:pt x="870648" y="457606"/>
                  </a:lnTo>
                  <a:lnTo>
                    <a:pt x="868667" y="445008"/>
                  </a:lnTo>
                  <a:lnTo>
                    <a:pt x="870381" y="433247"/>
                  </a:lnTo>
                  <a:lnTo>
                    <a:pt x="911529" y="398513"/>
                  </a:lnTo>
                  <a:lnTo>
                    <a:pt x="952677" y="391033"/>
                  </a:lnTo>
                  <a:lnTo>
                    <a:pt x="978395" y="390144"/>
                  </a:lnTo>
                  <a:lnTo>
                    <a:pt x="1023023" y="392988"/>
                  </a:lnTo>
                  <a:lnTo>
                    <a:pt x="1065644" y="401383"/>
                  </a:lnTo>
                  <a:lnTo>
                    <a:pt x="1106563" y="415226"/>
                  </a:lnTo>
                  <a:lnTo>
                    <a:pt x="1146035" y="434340"/>
                  </a:lnTo>
                  <a:lnTo>
                    <a:pt x="1202423" y="312420"/>
                  </a:lnTo>
                  <a:lnTo>
                    <a:pt x="1157084" y="291846"/>
                  </a:lnTo>
                  <a:lnTo>
                    <a:pt x="1100315" y="275844"/>
                  </a:lnTo>
                  <a:lnTo>
                    <a:pt x="1039355" y="265557"/>
                  </a:lnTo>
                  <a:lnTo>
                    <a:pt x="978395" y="262128"/>
                  </a:lnTo>
                  <a:lnTo>
                    <a:pt x="937564" y="263588"/>
                  </a:lnTo>
                  <a:lnTo>
                    <a:pt x="899718" y="268033"/>
                  </a:lnTo>
                  <a:lnTo>
                    <a:pt x="833615" y="286512"/>
                  </a:lnTo>
                  <a:lnTo>
                    <a:pt x="779132" y="314896"/>
                  </a:lnTo>
                  <a:lnTo>
                    <a:pt x="740651" y="353568"/>
                  </a:lnTo>
                  <a:lnTo>
                    <a:pt x="715314" y="398907"/>
                  </a:lnTo>
                  <a:lnTo>
                    <a:pt x="707123" y="451104"/>
                  </a:lnTo>
                  <a:lnTo>
                    <a:pt x="709396" y="482498"/>
                  </a:lnTo>
                  <a:lnTo>
                    <a:pt x="727062" y="533831"/>
                  </a:lnTo>
                  <a:lnTo>
                    <a:pt x="759942" y="570077"/>
                  </a:lnTo>
                  <a:lnTo>
                    <a:pt x="800049" y="595223"/>
                  </a:lnTo>
                  <a:lnTo>
                    <a:pt x="847521" y="610323"/>
                  </a:lnTo>
                  <a:lnTo>
                    <a:pt x="906957" y="622795"/>
                  </a:lnTo>
                  <a:lnTo>
                    <a:pt x="941819" y="627888"/>
                  </a:lnTo>
                  <a:lnTo>
                    <a:pt x="969784" y="632485"/>
                  </a:lnTo>
                  <a:lnTo>
                    <a:pt x="1014260" y="642251"/>
                  </a:lnTo>
                  <a:lnTo>
                    <a:pt x="1052880" y="661225"/>
                  </a:lnTo>
                  <a:lnTo>
                    <a:pt x="1060691" y="682752"/>
                  </a:lnTo>
                  <a:lnTo>
                    <a:pt x="1053858" y="706526"/>
                  </a:lnTo>
                  <a:lnTo>
                    <a:pt x="1033449" y="723138"/>
                  </a:lnTo>
                  <a:lnTo>
                    <a:pt x="999617" y="732904"/>
                  </a:lnTo>
                  <a:lnTo>
                    <a:pt x="952487" y="736092"/>
                  </a:lnTo>
                  <a:lnTo>
                    <a:pt x="925944" y="735215"/>
                  </a:lnTo>
                  <a:lnTo>
                    <a:pt x="871702" y="727735"/>
                  </a:lnTo>
                  <a:lnTo>
                    <a:pt x="817740" y="712279"/>
                  </a:lnTo>
                  <a:lnTo>
                    <a:pt x="770356" y="691705"/>
                  </a:lnTo>
                  <a:lnTo>
                    <a:pt x="749795" y="679704"/>
                  </a:lnTo>
                  <a:lnTo>
                    <a:pt x="693407" y="801624"/>
                  </a:lnTo>
                  <a:lnTo>
                    <a:pt x="741603" y="826579"/>
                  </a:lnTo>
                  <a:lnTo>
                    <a:pt x="804659" y="845820"/>
                  </a:lnTo>
                  <a:lnTo>
                    <a:pt x="874382" y="859536"/>
                  </a:lnTo>
                  <a:lnTo>
                    <a:pt x="946391" y="864108"/>
                  </a:lnTo>
                  <a:lnTo>
                    <a:pt x="987501" y="862685"/>
                  </a:lnTo>
                  <a:lnTo>
                    <a:pt x="1026020" y="858393"/>
                  </a:lnTo>
                  <a:lnTo>
                    <a:pt x="1094219" y="841248"/>
                  </a:lnTo>
                  <a:lnTo>
                    <a:pt x="1148892" y="813054"/>
                  </a:lnTo>
                  <a:lnTo>
                    <a:pt x="1188707" y="775716"/>
                  </a:lnTo>
                  <a:lnTo>
                    <a:pt x="1214043" y="729805"/>
                  </a:lnTo>
                  <a:lnTo>
                    <a:pt x="1220216" y="704786"/>
                  </a:lnTo>
                  <a:lnTo>
                    <a:pt x="1222235" y="678180"/>
                  </a:lnTo>
                  <a:close/>
                </a:path>
                <a:path w="3430904" h="1067435">
                  <a:moveTo>
                    <a:pt x="1961388" y="562368"/>
                  </a:moveTo>
                  <a:lnTo>
                    <a:pt x="1959076" y="519188"/>
                  </a:lnTo>
                  <a:lnTo>
                    <a:pt x="1952053" y="478739"/>
                  </a:lnTo>
                  <a:lnTo>
                    <a:pt x="1940166" y="440842"/>
                  </a:lnTo>
                  <a:lnTo>
                    <a:pt x="1923288" y="405396"/>
                  </a:lnTo>
                  <a:lnTo>
                    <a:pt x="1920417" y="400824"/>
                  </a:lnTo>
                  <a:lnTo>
                    <a:pt x="1903018" y="373100"/>
                  </a:lnTo>
                  <a:lnTo>
                    <a:pt x="1878901" y="344817"/>
                  </a:lnTo>
                  <a:lnTo>
                    <a:pt x="1871472" y="338340"/>
                  </a:lnTo>
                  <a:lnTo>
                    <a:pt x="1851063" y="320522"/>
                  </a:lnTo>
                  <a:lnTo>
                    <a:pt x="1819656" y="300240"/>
                  </a:lnTo>
                  <a:lnTo>
                    <a:pt x="1790700" y="286232"/>
                  </a:lnTo>
                  <a:lnTo>
                    <a:pt x="1790700" y="562368"/>
                  </a:lnTo>
                  <a:lnTo>
                    <a:pt x="1788121" y="598081"/>
                  </a:lnTo>
                  <a:lnTo>
                    <a:pt x="1767547" y="657517"/>
                  </a:lnTo>
                  <a:lnTo>
                    <a:pt x="1726641" y="700354"/>
                  </a:lnTo>
                  <a:lnTo>
                    <a:pt x="1672818" y="722591"/>
                  </a:lnTo>
                  <a:lnTo>
                    <a:pt x="1641335" y="725436"/>
                  </a:lnTo>
                  <a:lnTo>
                    <a:pt x="1610741" y="722591"/>
                  </a:lnTo>
                  <a:lnTo>
                    <a:pt x="1557540" y="700354"/>
                  </a:lnTo>
                  <a:lnTo>
                    <a:pt x="1516659" y="657517"/>
                  </a:lnTo>
                  <a:lnTo>
                    <a:pt x="1496085" y="598081"/>
                  </a:lnTo>
                  <a:lnTo>
                    <a:pt x="1493520" y="562368"/>
                  </a:lnTo>
                  <a:lnTo>
                    <a:pt x="1496085" y="527519"/>
                  </a:lnTo>
                  <a:lnTo>
                    <a:pt x="1516659" y="468706"/>
                  </a:lnTo>
                  <a:lnTo>
                    <a:pt x="1557540" y="425894"/>
                  </a:lnTo>
                  <a:lnTo>
                    <a:pt x="1610741" y="403656"/>
                  </a:lnTo>
                  <a:lnTo>
                    <a:pt x="1641335" y="400824"/>
                  </a:lnTo>
                  <a:lnTo>
                    <a:pt x="1672818" y="403656"/>
                  </a:lnTo>
                  <a:lnTo>
                    <a:pt x="1726641" y="425894"/>
                  </a:lnTo>
                  <a:lnTo>
                    <a:pt x="1767547" y="468706"/>
                  </a:lnTo>
                  <a:lnTo>
                    <a:pt x="1788121" y="527519"/>
                  </a:lnTo>
                  <a:lnTo>
                    <a:pt x="1790700" y="562368"/>
                  </a:lnTo>
                  <a:lnTo>
                    <a:pt x="1790700" y="286232"/>
                  </a:lnTo>
                  <a:lnTo>
                    <a:pt x="1784769" y="283349"/>
                  </a:lnTo>
                  <a:lnTo>
                    <a:pt x="1748586" y="271475"/>
                  </a:lnTo>
                  <a:lnTo>
                    <a:pt x="1710994" y="264439"/>
                  </a:lnTo>
                  <a:lnTo>
                    <a:pt x="1671815" y="262140"/>
                  </a:lnTo>
                  <a:lnTo>
                    <a:pt x="1614932" y="266966"/>
                  </a:lnTo>
                  <a:lnTo>
                    <a:pt x="1565325" y="281381"/>
                  </a:lnTo>
                  <a:lnTo>
                    <a:pt x="1522869" y="305206"/>
                  </a:lnTo>
                  <a:lnTo>
                    <a:pt x="1487411" y="338340"/>
                  </a:lnTo>
                  <a:lnTo>
                    <a:pt x="1487411" y="271272"/>
                  </a:lnTo>
                  <a:lnTo>
                    <a:pt x="1325867" y="271272"/>
                  </a:lnTo>
                  <a:lnTo>
                    <a:pt x="1325867" y="1066812"/>
                  </a:lnTo>
                  <a:lnTo>
                    <a:pt x="1495044" y="1066812"/>
                  </a:lnTo>
                  <a:lnTo>
                    <a:pt x="1495044" y="794016"/>
                  </a:lnTo>
                  <a:lnTo>
                    <a:pt x="1529943" y="824890"/>
                  </a:lnTo>
                  <a:lnTo>
                    <a:pt x="1570850" y="846785"/>
                  </a:lnTo>
                  <a:lnTo>
                    <a:pt x="1618056" y="859802"/>
                  </a:lnTo>
                  <a:lnTo>
                    <a:pt x="1671815" y="864120"/>
                  </a:lnTo>
                  <a:lnTo>
                    <a:pt x="1710994" y="861834"/>
                  </a:lnTo>
                  <a:lnTo>
                    <a:pt x="1748586" y="854976"/>
                  </a:lnTo>
                  <a:lnTo>
                    <a:pt x="1819656" y="827544"/>
                  </a:lnTo>
                  <a:lnTo>
                    <a:pt x="1865083" y="794016"/>
                  </a:lnTo>
                  <a:lnTo>
                    <a:pt x="1878901" y="781824"/>
                  </a:lnTo>
                  <a:lnTo>
                    <a:pt x="1903018" y="753821"/>
                  </a:lnTo>
                  <a:lnTo>
                    <a:pt x="1921319" y="725436"/>
                  </a:lnTo>
                  <a:lnTo>
                    <a:pt x="1923288" y="722388"/>
                  </a:lnTo>
                  <a:lnTo>
                    <a:pt x="1940166" y="686663"/>
                  </a:lnTo>
                  <a:lnTo>
                    <a:pt x="1952053" y="648093"/>
                  </a:lnTo>
                  <a:lnTo>
                    <a:pt x="1959076" y="606653"/>
                  </a:lnTo>
                  <a:lnTo>
                    <a:pt x="1961388" y="562368"/>
                  </a:lnTo>
                  <a:close/>
                </a:path>
                <a:path w="3430904" h="1067435">
                  <a:moveTo>
                    <a:pt x="2244852" y="271272"/>
                  </a:moveTo>
                  <a:lnTo>
                    <a:pt x="2074164" y="271272"/>
                  </a:lnTo>
                  <a:lnTo>
                    <a:pt x="2074164" y="856488"/>
                  </a:lnTo>
                  <a:lnTo>
                    <a:pt x="2244852" y="856488"/>
                  </a:lnTo>
                  <a:lnTo>
                    <a:pt x="2244852" y="271272"/>
                  </a:lnTo>
                  <a:close/>
                </a:path>
                <a:path w="3430904" h="1067435">
                  <a:moveTo>
                    <a:pt x="2264664" y="91440"/>
                  </a:moveTo>
                  <a:lnTo>
                    <a:pt x="2247938" y="39585"/>
                  </a:lnTo>
                  <a:lnTo>
                    <a:pt x="2201608" y="6667"/>
                  </a:lnTo>
                  <a:lnTo>
                    <a:pt x="2159508" y="0"/>
                  </a:lnTo>
                  <a:lnTo>
                    <a:pt x="2137524" y="1714"/>
                  </a:lnTo>
                  <a:lnTo>
                    <a:pt x="2099284" y="15430"/>
                  </a:lnTo>
                  <a:lnTo>
                    <a:pt x="2070417" y="41770"/>
                  </a:lnTo>
                  <a:lnTo>
                    <a:pt x="2054352" y="94488"/>
                  </a:lnTo>
                  <a:lnTo>
                    <a:pt x="2056079" y="113334"/>
                  </a:lnTo>
                  <a:lnTo>
                    <a:pt x="2083308" y="161544"/>
                  </a:lnTo>
                  <a:lnTo>
                    <a:pt x="2117407" y="182118"/>
                  </a:lnTo>
                  <a:lnTo>
                    <a:pt x="2159508" y="188976"/>
                  </a:lnTo>
                  <a:lnTo>
                    <a:pt x="2181479" y="187261"/>
                  </a:lnTo>
                  <a:lnTo>
                    <a:pt x="2219718" y="173545"/>
                  </a:lnTo>
                  <a:lnTo>
                    <a:pt x="2247938" y="146735"/>
                  </a:lnTo>
                  <a:lnTo>
                    <a:pt x="2262708" y="111404"/>
                  </a:lnTo>
                  <a:lnTo>
                    <a:pt x="2264664" y="91440"/>
                  </a:lnTo>
                  <a:close/>
                </a:path>
                <a:path w="3430904" h="1067435">
                  <a:moveTo>
                    <a:pt x="2763012" y="262140"/>
                  </a:moveTo>
                  <a:lnTo>
                    <a:pt x="2700337" y="267665"/>
                  </a:lnTo>
                  <a:lnTo>
                    <a:pt x="2645664" y="283476"/>
                  </a:lnTo>
                  <a:lnTo>
                    <a:pt x="2598801" y="310908"/>
                  </a:lnTo>
                  <a:lnTo>
                    <a:pt x="2563368" y="347484"/>
                  </a:lnTo>
                  <a:lnTo>
                    <a:pt x="2563368" y="271284"/>
                  </a:lnTo>
                  <a:lnTo>
                    <a:pt x="2401824" y="271284"/>
                  </a:lnTo>
                  <a:lnTo>
                    <a:pt x="2401824" y="856500"/>
                  </a:lnTo>
                  <a:lnTo>
                    <a:pt x="2570988" y="856500"/>
                  </a:lnTo>
                  <a:lnTo>
                    <a:pt x="2570988" y="579132"/>
                  </a:lnTo>
                  <a:lnTo>
                    <a:pt x="2573553" y="541426"/>
                  </a:lnTo>
                  <a:lnTo>
                    <a:pt x="2594127" y="480326"/>
                  </a:lnTo>
                  <a:lnTo>
                    <a:pt x="2634704" y="439204"/>
                  </a:lnTo>
                  <a:lnTo>
                    <a:pt x="2691854" y="418630"/>
                  </a:lnTo>
                  <a:lnTo>
                    <a:pt x="2726436" y="416064"/>
                  </a:lnTo>
                  <a:lnTo>
                    <a:pt x="2732151" y="416318"/>
                  </a:lnTo>
                  <a:lnTo>
                    <a:pt x="2763012" y="419112"/>
                  </a:lnTo>
                  <a:lnTo>
                    <a:pt x="2763012" y="262140"/>
                  </a:lnTo>
                  <a:close/>
                </a:path>
                <a:path w="3430904" h="1067435">
                  <a:moveTo>
                    <a:pt x="3430511" y="565404"/>
                  </a:moveTo>
                  <a:lnTo>
                    <a:pt x="3428212" y="521119"/>
                  </a:lnTo>
                  <a:lnTo>
                    <a:pt x="3421176" y="479679"/>
                  </a:lnTo>
                  <a:lnTo>
                    <a:pt x="3409302" y="441109"/>
                  </a:lnTo>
                  <a:lnTo>
                    <a:pt x="3392411" y="405384"/>
                  </a:lnTo>
                  <a:lnTo>
                    <a:pt x="3370122" y="372224"/>
                  </a:lnTo>
                  <a:lnTo>
                    <a:pt x="3344405" y="343471"/>
                  </a:lnTo>
                  <a:lnTo>
                    <a:pt x="3282683" y="298704"/>
                  </a:lnTo>
                  <a:lnTo>
                    <a:pt x="3272015" y="293979"/>
                  </a:lnTo>
                  <a:lnTo>
                    <a:pt x="3272015" y="512064"/>
                  </a:lnTo>
                  <a:lnTo>
                    <a:pt x="2983979" y="512064"/>
                  </a:lnTo>
                  <a:lnTo>
                    <a:pt x="3000171" y="461581"/>
                  </a:lnTo>
                  <a:lnTo>
                    <a:pt x="3031223" y="423672"/>
                  </a:lnTo>
                  <a:lnTo>
                    <a:pt x="3075990" y="398335"/>
                  </a:lnTo>
                  <a:lnTo>
                    <a:pt x="3128759" y="390144"/>
                  </a:lnTo>
                  <a:lnTo>
                    <a:pt x="3155962" y="392176"/>
                  </a:lnTo>
                  <a:lnTo>
                    <a:pt x="3202914" y="408800"/>
                  </a:lnTo>
                  <a:lnTo>
                    <a:pt x="3241586" y="441350"/>
                  </a:lnTo>
                  <a:lnTo>
                    <a:pt x="3265690" y="485825"/>
                  </a:lnTo>
                  <a:lnTo>
                    <a:pt x="3272015" y="512064"/>
                  </a:lnTo>
                  <a:lnTo>
                    <a:pt x="3272015" y="293979"/>
                  </a:lnTo>
                  <a:lnTo>
                    <a:pt x="3246615" y="282702"/>
                  </a:lnTo>
                  <a:lnTo>
                    <a:pt x="3208959" y="271272"/>
                  </a:lnTo>
                  <a:lnTo>
                    <a:pt x="3169323" y="264414"/>
                  </a:lnTo>
                  <a:lnTo>
                    <a:pt x="3127235" y="262128"/>
                  </a:lnTo>
                  <a:lnTo>
                    <a:pt x="3084690" y="264439"/>
                  </a:lnTo>
                  <a:lnTo>
                    <a:pt x="3043986" y="271462"/>
                  </a:lnTo>
                  <a:lnTo>
                    <a:pt x="3005302" y="283349"/>
                  </a:lnTo>
                  <a:lnTo>
                    <a:pt x="2968739" y="300228"/>
                  </a:lnTo>
                  <a:lnTo>
                    <a:pt x="2935046" y="321424"/>
                  </a:lnTo>
                  <a:lnTo>
                    <a:pt x="2904921" y="346329"/>
                  </a:lnTo>
                  <a:lnTo>
                    <a:pt x="2878518" y="375246"/>
                  </a:lnTo>
                  <a:lnTo>
                    <a:pt x="2855963" y="408432"/>
                  </a:lnTo>
                  <a:lnTo>
                    <a:pt x="2838843" y="443852"/>
                  </a:lnTo>
                  <a:lnTo>
                    <a:pt x="2826435" y="481393"/>
                  </a:lnTo>
                  <a:lnTo>
                    <a:pt x="2818892" y="520954"/>
                  </a:lnTo>
                  <a:lnTo>
                    <a:pt x="2816339" y="562356"/>
                  </a:lnTo>
                  <a:lnTo>
                    <a:pt x="2818917" y="605536"/>
                  </a:lnTo>
                  <a:lnTo>
                    <a:pt x="2826626" y="645985"/>
                  </a:lnTo>
                  <a:lnTo>
                    <a:pt x="2839491" y="683882"/>
                  </a:lnTo>
                  <a:lnTo>
                    <a:pt x="2857487" y="719328"/>
                  </a:lnTo>
                  <a:lnTo>
                    <a:pt x="2880334" y="751001"/>
                  </a:lnTo>
                  <a:lnTo>
                    <a:pt x="2907588" y="779526"/>
                  </a:lnTo>
                  <a:lnTo>
                    <a:pt x="2939148" y="804633"/>
                  </a:lnTo>
                  <a:lnTo>
                    <a:pt x="2974835" y="826008"/>
                  </a:lnTo>
                  <a:lnTo>
                    <a:pt x="3013989" y="842899"/>
                  </a:lnTo>
                  <a:lnTo>
                    <a:pt x="3055988" y="854773"/>
                  </a:lnTo>
                  <a:lnTo>
                    <a:pt x="3100857" y="861809"/>
                  </a:lnTo>
                  <a:lnTo>
                    <a:pt x="3148571" y="864108"/>
                  </a:lnTo>
                  <a:lnTo>
                    <a:pt x="3209315" y="860437"/>
                  </a:lnTo>
                  <a:lnTo>
                    <a:pt x="3263620" y="849287"/>
                  </a:lnTo>
                  <a:lnTo>
                    <a:pt x="3311639" y="830541"/>
                  </a:lnTo>
                  <a:lnTo>
                    <a:pt x="3353498" y="804037"/>
                  </a:lnTo>
                  <a:lnTo>
                    <a:pt x="3389363" y="769620"/>
                  </a:lnTo>
                  <a:lnTo>
                    <a:pt x="3352076" y="728472"/>
                  </a:lnTo>
                  <a:lnTo>
                    <a:pt x="3300971" y="672084"/>
                  </a:lnTo>
                  <a:lnTo>
                    <a:pt x="3284931" y="685825"/>
                  </a:lnTo>
                  <a:lnTo>
                    <a:pt x="3268586" y="697420"/>
                  </a:lnTo>
                  <a:lnTo>
                    <a:pt x="3233915" y="714756"/>
                  </a:lnTo>
                  <a:lnTo>
                    <a:pt x="3196386" y="725043"/>
                  </a:lnTo>
                  <a:lnTo>
                    <a:pt x="3153143" y="728472"/>
                  </a:lnTo>
                  <a:lnTo>
                    <a:pt x="3121406" y="726503"/>
                  </a:lnTo>
                  <a:lnTo>
                    <a:pt x="3065919" y="711123"/>
                  </a:lnTo>
                  <a:lnTo>
                    <a:pt x="3022155" y="680567"/>
                  </a:lnTo>
                  <a:lnTo>
                    <a:pt x="2994101" y="637133"/>
                  </a:lnTo>
                  <a:lnTo>
                    <a:pt x="2985503" y="611124"/>
                  </a:lnTo>
                  <a:lnTo>
                    <a:pt x="3427463" y="611124"/>
                  </a:lnTo>
                  <a:lnTo>
                    <a:pt x="3429228" y="592632"/>
                  </a:lnTo>
                  <a:lnTo>
                    <a:pt x="3430130" y="578548"/>
                  </a:lnTo>
                  <a:lnTo>
                    <a:pt x="3430473" y="569341"/>
                  </a:lnTo>
                  <a:lnTo>
                    <a:pt x="3430511" y="565404"/>
                  </a:lnTo>
                  <a:close/>
                </a:path>
              </a:pathLst>
            </a:custGeom>
            <a:solidFill>
              <a:srgbClr val="0083A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4383024" y="5727204"/>
              <a:ext cx="1263650" cy="567055"/>
            </a:xfrm>
            <a:custGeom>
              <a:avLst/>
              <a:gdLst/>
              <a:ahLst/>
              <a:cxnLst/>
              <a:rect l="l" t="t" r="r" b="b"/>
              <a:pathLst>
                <a:path w="1263650" h="567054">
                  <a:moveTo>
                    <a:pt x="161544" y="483108"/>
                  </a:moveTo>
                  <a:lnTo>
                    <a:pt x="105156" y="483108"/>
                  </a:lnTo>
                  <a:lnTo>
                    <a:pt x="105156" y="495300"/>
                  </a:lnTo>
                  <a:lnTo>
                    <a:pt x="126492" y="495300"/>
                  </a:lnTo>
                  <a:lnTo>
                    <a:pt x="126492" y="565404"/>
                  </a:lnTo>
                  <a:lnTo>
                    <a:pt x="140208" y="565404"/>
                  </a:lnTo>
                  <a:lnTo>
                    <a:pt x="140208" y="495300"/>
                  </a:lnTo>
                  <a:lnTo>
                    <a:pt x="161544" y="495300"/>
                  </a:lnTo>
                  <a:lnTo>
                    <a:pt x="161544" y="483108"/>
                  </a:lnTo>
                  <a:close/>
                </a:path>
                <a:path w="1263650" h="567054">
                  <a:moveTo>
                    <a:pt x="234696" y="553199"/>
                  </a:moveTo>
                  <a:lnTo>
                    <a:pt x="202692" y="553199"/>
                  </a:lnTo>
                  <a:lnTo>
                    <a:pt x="202692" y="528815"/>
                  </a:lnTo>
                  <a:lnTo>
                    <a:pt x="231648" y="528815"/>
                  </a:lnTo>
                  <a:lnTo>
                    <a:pt x="231648" y="516623"/>
                  </a:lnTo>
                  <a:lnTo>
                    <a:pt x="202692" y="516623"/>
                  </a:lnTo>
                  <a:lnTo>
                    <a:pt x="202692" y="495287"/>
                  </a:lnTo>
                  <a:lnTo>
                    <a:pt x="233172" y="495287"/>
                  </a:lnTo>
                  <a:lnTo>
                    <a:pt x="233172" y="483095"/>
                  </a:lnTo>
                  <a:lnTo>
                    <a:pt x="188976" y="483095"/>
                  </a:lnTo>
                  <a:lnTo>
                    <a:pt x="188976" y="565391"/>
                  </a:lnTo>
                  <a:lnTo>
                    <a:pt x="234696" y="565391"/>
                  </a:lnTo>
                  <a:lnTo>
                    <a:pt x="234696" y="553199"/>
                  </a:lnTo>
                  <a:close/>
                </a:path>
                <a:path w="1263650" h="567054">
                  <a:moveTo>
                    <a:pt x="313944" y="498348"/>
                  </a:moveTo>
                  <a:lnTo>
                    <a:pt x="312801" y="493776"/>
                  </a:lnTo>
                  <a:lnTo>
                    <a:pt x="312420" y="492252"/>
                  </a:lnTo>
                  <a:lnTo>
                    <a:pt x="307848" y="487680"/>
                  </a:lnTo>
                  <a:lnTo>
                    <a:pt x="304800" y="483108"/>
                  </a:lnTo>
                  <a:lnTo>
                    <a:pt x="298704" y="481584"/>
                  </a:lnTo>
                  <a:lnTo>
                    <a:pt x="289560" y="481584"/>
                  </a:lnTo>
                  <a:lnTo>
                    <a:pt x="279311" y="483222"/>
                  </a:lnTo>
                  <a:lnTo>
                    <a:pt x="271653" y="487870"/>
                  </a:lnTo>
                  <a:lnTo>
                    <a:pt x="266839" y="495084"/>
                  </a:lnTo>
                  <a:lnTo>
                    <a:pt x="265176" y="504444"/>
                  </a:lnTo>
                  <a:lnTo>
                    <a:pt x="267004" y="513397"/>
                  </a:lnTo>
                  <a:lnTo>
                    <a:pt x="271843" y="520065"/>
                  </a:lnTo>
                  <a:lnTo>
                    <a:pt x="278676" y="525018"/>
                  </a:lnTo>
                  <a:lnTo>
                    <a:pt x="286512" y="528828"/>
                  </a:lnTo>
                  <a:lnTo>
                    <a:pt x="294132" y="533400"/>
                  </a:lnTo>
                  <a:lnTo>
                    <a:pt x="300228" y="536448"/>
                  </a:lnTo>
                  <a:lnTo>
                    <a:pt x="300228" y="550164"/>
                  </a:lnTo>
                  <a:lnTo>
                    <a:pt x="297180" y="554736"/>
                  </a:lnTo>
                  <a:lnTo>
                    <a:pt x="283464" y="554736"/>
                  </a:lnTo>
                  <a:lnTo>
                    <a:pt x="277368" y="553212"/>
                  </a:lnTo>
                  <a:lnTo>
                    <a:pt x="277368" y="537972"/>
                  </a:lnTo>
                  <a:lnTo>
                    <a:pt x="263652" y="537972"/>
                  </a:lnTo>
                  <a:lnTo>
                    <a:pt x="263652" y="553212"/>
                  </a:lnTo>
                  <a:lnTo>
                    <a:pt x="269748" y="560832"/>
                  </a:lnTo>
                  <a:lnTo>
                    <a:pt x="272796" y="565404"/>
                  </a:lnTo>
                  <a:lnTo>
                    <a:pt x="278892" y="566928"/>
                  </a:lnTo>
                  <a:lnTo>
                    <a:pt x="288036" y="566928"/>
                  </a:lnTo>
                  <a:lnTo>
                    <a:pt x="313944" y="542544"/>
                  </a:lnTo>
                  <a:lnTo>
                    <a:pt x="312127" y="533565"/>
                  </a:lnTo>
                  <a:lnTo>
                    <a:pt x="307467" y="526732"/>
                  </a:lnTo>
                  <a:lnTo>
                    <a:pt x="301078" y="521322"/>
                  </a:lnTo>
                  <a:lnTo>
                    <a:pt x="294132" y="516636"/>
                  </a:lnTo>
                  <a:lnTo>
                    <a:pt x="278892" y="510540"/>
                  </a:lnTo>
                  <a:lnTo>
                    <a:pt x="278892" y="495300"/>
                  </a:lnTo>
                  <a:lnTo>
                    <a:pt x="286512" y="493776"/>
                  </a:lnTo>
                  <a:lnTo>
                    <a:pt x="292608" y="493776"/>
                  </a:lnTo>
                  <a:lnTo>
                    <a:pt x="295656" y="495300"/>
                  </a:lnTo>
                  <a:lnTo>
                    <a:pt x="298704" y="498348"/>
                  </a:lnTo>
                  <a:lnTo>
                    <a:pt x="300228" y="501396"/>
                  </a:lnTo>
                  <a:lnTo>
                    <a:pt x="300228" y="507492"/>
                  </a:lnTo>
                  <a:lnTo>
                    <a:pt x="313944" y="507492"/>
                  </a:lnTo>
                  <a:lnTo>
                    <a:pt x="313944" y="498348"/>
                  </a:lnTo>
                  <a:close/>
                </a:path>
                <a:path w="1263650" h="567054">
                  <a:moveTo>
                    <a:pt x="396227" y="483108"/>
                  </a:moveTo>
                  <a:lnTo>
                    <a:pt x="339839" y="483108"/>
                  </a:lnTo>
                  <a:lnTo>
                    <a:pt x="339839" y="495300"/>
                  </a:lnTo>
                  <a:lnTo>
                    <a:pt x="361175" y="495300"/>
                  </a:lnTo>
                  <a:lnTo>
                    <a:pt x="361175" y="565404"/>
                  </a:lnTo>
                  <a:lnTo>
                    <a:pt x="374891" y="565404"/>
                  </a:lnTo>
                  <a:lnTo>
                    <a:pt x="374891" y="495300"/>
                  </a:lnTo>
                  <a:lnTo>
                    <a:pt x="396227" y="495300"/>
                  </a:lnTo>
                  <a:lnTo>
                    <a:pt x="396227" y="483108"/>
                  </a:lnTo>
                  <a:close/>
                </a:path>
                <a:path w="1263650" h="567054">
                  <a:moveTo>
                    <a:pt x="419100" y="0"/>
                  </a:moveTo>
                  <a:lnTo>
                    <a:pt x="0" y="0"/>
                  </a:lnTo>
                  <a:lnTo>
                    <a:pt x="0" y="417563"/>
                  </a:lnTo>
                  <a:lnTo>
                    <a:pt x="419100" y="417563"/>
                  </a:lnTo>
                  <a:lnTo>
                    <a:pt x="419100" y="0"/>
                  </a:lnTo>
                  <a:close/>
                </a:path>
                <a:path w="1263650" h="567054">
                  <a:moveTo>
                    <a:pt x="438899" y="483095"/>
                  </a:moveTo>
                  <a:lnTo>
                    <a:pt x="425183" y="483095"/>
                  </a:lnTo>
                  <a:lnTo>
                    <a:pt x="425183" y="565404"/>
                  </a:lnTo>
                  <a:lnTo>
                    <a:pt x="438899" y="565404"/>
                  </a:lnTo>
                  <a:lnTo>
                    <a:pt x="438899" y="483095"/>
                  </a:lnTo>
                  <a:close/>
                </a:path>
                <a:path w="1263650" h="567054">
                  <a:moveTo>
                    <a:pt x="534924" y="483095"/>
                  </a:moveTo>
                  <a:lnTo>
                    <a:pt x="521208" y="483095"/>
                  </a:lnTo>
                  <a:lnTo>
                    <a:pt x="521208" y="542531"/>
                  </a:lnTo>
                  <a:lnTo>
                    <a:pt x="493776" y="483095"/>
                  </a:lnTo>
                  <a:lnTo>
                    <a:pt x="477012" y="483095"/>
                  </a:lnTo>
                  <a:lnTo>
                    <a:pt x="477012" y="565391"/>
                  </a:lnTo>
                  <a:lnTo>
                    <a:pt x="489204" y="565391"/>
                  </a:lnTo>
                  <a:lnTo>
                    <a:pt x="489204" y="504431"/>
                  </a:lnTo>
                  <a:lnTo>
                    <a:pt x="518160" y="565391"/>
                  </a:lnTo>
                  <a:lnTo>
                    <a:pt x="534924" y="565391"/>
                  </a:lnTo>
                  <a:lnTo>
                    <a:pt x="534924" y="483095"/>
                  </a:lnTo>
                  <a:close/>
                </a:path>
                <a:path w="1263650" h="567054">
                  <a:moveTo>
                    <a:pt x="623303" y="498348"/>
                  </a:moveTo>
                  <a:lnTo>
                    <a:pt x="621779" y="492252"/>
                  </a:lnTo>
                  <a:lnTo>
                    <a:pt x="612635" y="483108"/>
                  </a:lnTo>
                  <a:lnTo>
                    <a:pt x="606539" y="481584"/>
                  </a:lnTo>
                  <a:lnTo>
                    <a:pt x="595871" y="481584"/>
                  </a:lnTo>
                  <a:lnTo>
                    <a:pt x="584758" y="483298"/>
                  </a:lnTo>
                  <a:lnTo>
                    <a:pt x="576630" y="488442"/>
                  </a:lnTo>
                  <a:lnTo>
                    <a:pt x="571665" y="497014"/>
                  </a:lnTo>
                  <a:lnTo>
                    <a:pt x="569963" y="509016"/>
                  </a:lnTo>
                  <a:lnTo>
                    <a:pt x="569963" y="534924"/>
                  </a:lnTo>
                  <a:lnTo>
                    <a:pt x="571449" y="548919"/>
                  </a:lnTo>
                  <a:lnTo>
                    <a:pt x="576059" y="558927"/>
                  </a:lnTo>
                  <a:lnTo>
                    <a:pt x="584111" y="564921"/>
                  </a:lnTo>
                  <a:lnTo>
                    <a:pt x="595871" y="566928"/>
                  </a:lnTo>
                  <a:lnTo>
                    <a:pt x="603351" y="566610"/>
                  </a:lnTo>
                  <a:lnTo>
                    <a:pt x="621779" y="519684"/>
                  </a:lnTo>
                  <a:lnTo>
                    <a:pt x="608063" y="531876"/>
                  </a:lnTo>
                  <a:lnTo>
                    <a:pt x="608063" y="551688"/>
                  </a:lnTo>
                  <a:lnTo>
                    <a:pt x="606539" y="553212"/>
                  </a:lnTo>
                  <a:lnTo>
                    <a:pt x="601967" y="554736"/>
                  </a:lnTo>
                  <a:lnTo>
                    <a:pt x="588251" y="554736"/>
                  </a:lnTo>
                  <a:lnTo>
                    <a:pt x="583679" y="551688"/>
                  </a:lnTo>
                  <a:lnTo>
                    <a:pt x="583679" y="496824"/>
                  </a:lnTo>
                  <a:lnTo>
                    <a:pt x="591299" y="493776"/>
                  </a:lnTo>
                  <a:lnTo>
                    <a:pt x="605015" y="493776"/>
                  </a:lnTo>
                  <a:lnTo>
                    <a:pt x="608063" y="496824"/>
                  </a:lnTo>
                  <a:lnTo>
                    <a:pt x="608063" y="507492"/>
                  </a:lnTo>
                  <a:lnTo>
                    <a:pt x="623303" y="507492"/>
                  </a:lnTo>
                  <a:lnTo>
                    <a:pt x="623303" y="498348"/>
                  </a:lnTo>
                  <a:close/>
                </a:path>
                <a:path w="1263650" h="567054">
                  <a:moveTo>
                    <a:pt x="754367" y="498348"/>
                  </a:moveTo>
                  <a:lnTo>
                    <a:pt x="752081" y="493776"/>
                  </a:lnTo>
                  <a:lnTo>
                    <a:pt x="751319" y="492252"/>
                  </a:lnTo>
                  <a:lnTo>
                    <a:pt x="748271" y="487680"/>
                  </a:lnTo>
                  <a:lnTo>
                    <a:pt x="743699" y="483108"/>
                  </a:lnTo>
                  <a:lnTo>
                    <a:pt x="737603" y="481584"/>
                  </a:lnTo>
                  <a:lnTo>
                    <a:pt x="729983" y="481584"/>
                  </a:lnTo>
                  <a:lnTo>
                    <a:pt x="719505" y="483222"/>
                  </a:lnTo>
                  <a:lnTo>
                    <a:pt x="711314" y="487870"/>
                  </a:lnTo>
                  <a:lnTo>
                    <a:pt x="705980" y="495084"/>
                  </a:lnTo>
                  <a:lnTo>
                    <a:pt x="704075" y="504444"/>
                  </a:lnTo>
                  <a:lnTo>
                    <a:pt x="706132" y="513397"/>
                  </a:lnTo>
                  <a:lnTo>
                    <a:pt x="711314" y="520065"/>
                  </a:lnTo>
                  <a:lnTo>
                    <a:pt x="718223" y="525018"/>
                  </a:lnTo>
                  <a:lnTo>
                    <a:pt x="725411" y="528828"/>
                  </a:lnTo>
                  <a:lnTo>
                    <a:pt x="733031" y="533400"/>
                  </a:lnTo>
                  <a:lnTo>
                    <a:pt x="739127" y="536448"/>
                  </a:lnTo>
                  <a:lnTo>
                    <a:pt x="739127" y="550164"/>
                  </a:lnTo>
                  <a:lnTo>
                    <a:pt x="736079" y="554736"/>
                  </a:lnTo>
                  <a:lnTo>
                    <a:pt x="723887" y="554736"/>
                  </a:lnTo>
                  <a:lnTo>
                    <a:pt x="716267" y="553212"/>
                  </a:lnTo>
                  <a:lnTo>
                    <a:pt x="716267" y="537972"/>
                  </a:lnTo>
                  <a:lnTo>
                    <a:pt x="702551" y="537972"/>
                  </a:lnTo>
                  <a:lnTo>
                    <a:pt x="702551" y="553212"/>
                  </a:lnTo>
                  <a:lnTo>
                    <a:pt x="708647" y="560832"/>
                  </a:lnTo>
                  <a:lnTo>
                    <a:pt x="713219" y="565404"/>
                  </a:lnTo>
                  <a:lnTo>
                    <a:pt x="719315" y="566928"/>
                  </a:lnTo>
                  <a:lnTo>
                    <a:pt x="726935" y="566928"/>
                  </a:lnTo>
                  <a:lnTo>
                    <a:pt x="754367" y="542544"/>
                  </a:lnTo>
                  <a:lnTo>
                    <a:pt x="752322" y="533565"/>
                  </a:lnTo>
                  <a:lnTo>
                    <a:pt x="747128" y="526732"/>
                  </a:lnTo>
                  <a:lnTo>
                    <a:pt x="740232" y="521322"/>
                  </a:lnTo>
                  <a:lnTo>
                    <a:pt x="733031" y="516636"/>
                  </a:lnTo>
                  <a:lnTo>
                    <a:pt x="725411" y="513588"/>
                  </a:lnTo>
                  <a:lnTo>
                    <a:pt x="719315" y="510540"/>
                  </a:lnTo>
                  <a:lnTo>
                    <a:pt x="719315" y="495300"/>
                  </a:lnTo>
                  <a:lnTo>
                    <a:pt x="725411" y="493776"/>
                  </a:lnTo>
                  <a:lnTo>
                    <a:pt x="733031" y="493776"/>
                  </a:lnTo>
                  <a:lnTo>
                    <a:pt x="737603" y="498348"/>
                  </a:lnTo>
                  <a:lnTo>
                    <a:pt x="739127" y="501396"/>
                  </a:lnTo>
                  <a:lnTo>
                    <a:pt x="739127" y="507492"/>
                  </a:lnTo>
                  <a:lnTo>
                    <a:pt x="752843" y="507492"/>
                  </a:lnTo>
                  <a:lnTo>
                    <a:pt x="752843" y="505968"/>
                  </a:lnTo>
                  <a:lnTo>
                    <a:pt x="754367" y="498348"/>
                  </a:lnTo>
                  <a:close/>
                </a:path>
                <a:path w="1263650" h="567054">
                  <a:moveTo>
                    <a:pt x="832104" y="483095"/>
                  </a:moveTo>
                  <a:lnTo>
                    <a:pt x="787908" y="483095"/>
                  </a:lnTo>
                  <a:lnTo>
                    <a:pt x="787908" y="565391"/>
                  </a:lnTo>
                  <a:lnTo>
                    <a:pt x="832104" y="565391"/>
                  </a:lnTo>
                  <a:lnTo>
                    <a:pt x="832104" y="553199"/>
                  </a:lnTo>
                  <a:lnTo>
                    <a:pt x="801624" y="553199"/>
                  </a:lnTo>
                  <a:lnTo>
                    <a:pt x="801624" y="528815"/>
                  </a:lnTo>
                  <a:lnTo>
                    <a:pt x="829056" y="528815"/>
                  </a:lnTo>
                  <a:lnTo>
                    <a:pt x="829056" y="516623"/>
                  </a:lnTo>
                  <a:lnTo>
                    <a:pt x="801624" y="516623"/>
                  </a:lnTo>
                  <a:lnTo>
                    <a:pt x="801624" y="495287"/>
                  </a:lnTo>
                  <a:lnTo>
                    <a:pt x="832104" y="495287"/>
                  </a:lnTo>
                  <a:lnTo>
                    <a:pt x="832104" y="483095"/>
                  </a:lnTo>
                  <a:close/>
                </a:path>
                <a:path w="1263650" h="567054">
                  <a:moveTo>
                    <a:pt x="915924" y="565404"/>
                  </a:moveTo>
                  <a:lnTo>
                    <a:pt x="914400" y="562356"/>
                  </a:lnTo>
                  <a:lnTo>
                    <a:pt x="912876" y="557784"/>
                  </a:lnTo>
                  <a:lnTo>
                    <a:pt x="911352" y="545592"/>
                  </a:lnTo>
                  <a:lnTo>
                    <a:pt x="911352" y="530352"/>
                  </a:lnTo>
                  <a:lnTo>
                    <a:pt x="910971" y="528828"/>
                  </a:lnTo>
                  <a:lnTo>
                    <a:pt x="909828" y="524256"/>
                  </a:lnTo>
                  <a:lnTo>
                    <a:pt x="903732" y="522732"/>
                  </a:lnTo>
                  <a:lnTo>
                    <a:pt x="909828" y="519684"/>
                  </a:lnTo>
                  <a:lnTo>
                    <a:pt x="911047" y="516636"/>
                  </a:lnTo>
                  <a:lnTo>
                    <a:pt x="912876" y="512064"/>
                  </a:lnTo>
                  <a:lnTo>
                    <a:pt x="912876" y="504444"/>
                  </a:lnTo>
                  <a:lnTo>
                    <a:pt x="911923" y="496608"/>
                  </a:lnTo>
                  <a:lnTo>
                    <a:pt x="911301" y="495300"/>
                  </a:lnTo>
                  <a:lnTo>
                    <a:pt x="908685" y="489775"/>
                  </a:lnTo>
                  <a:lnTo>
                    <a:pt x="902589" y="484936"/>
                  </a:lnTo>
                  <a:lnTo>
                    <a:pt x="899160" y="484289"/>
                  </a:lnTo>
                  <a:lnTo>
                    <a:pt x="899160" y="495300"/>
                  </a:lnTo>
                  <a:lnTo>
                    <a:pt x="899160" y="510540"/>
                  </a:lnTo>
                  <a:lnTo>
                    <a:pt x="896112" y="516636"/>
                  </a:lnTo>
                  <a:lnTo>
                    <a:pt x="877824" y="516636"/>
                  </a:lnTo>
                  <a:lnTo>
                    <a:pt x="877824" y="495300"/>
                  </a:lnTo>
                  <a:lnTo>
                    <a:pt x="899160" y="495300"/>
                  </a:lnTo>
                  <a:lnTo>
                    <a:pt x="899160" y="484289"/>
                  </a:lnTo>
                  <a:lnTo>
                    <a:pt x="893064" y="483108"/>
                  </a:lnTo>
                  <a:lnTo>
                    <a:pt x="864108" y="483108"/>
                  </a:lnTo>
                  <a:lnTo>
                    <a:pt x="864108" y="565404"/>
                  </a:lnTo>
                  <a:lnTo>
                    <a:pt x="877824" y="565404"/>
                  </a:lnTo>
                  <a:lnTo>
                    <a:pt x="877824" y="528828"/>
                  </a:lnTo>
                  <a:lnTo>
                    <a:pt x="893064" y="528828"/>
                  </a:lnTo>
                  <a:lnTo>
                    <a:pt x="896112" y="531876"/>
                  </a:lnTo>
                  <a:lnTo>
                    <a:pt x="897636" y="537972"/>
                  </a:lnTo>
                  <a:lnTo>
                    <a:pt x="897636" y="559308"/>
                  </a:lnTo>
                  <a:lnTo>
                    <a:pt x="900684" y="563880"/>
                  </a:lnTo>
                  <a:lnTo>
                    <a:pt x="900684" y="565404"/>
                  </a:lnTo>
                  <a:lnTo>
                    <a:pt x="915924" y="565404"/>
                  </a:lnTo>
                  <a:close/>
                </a:path>
                <a:path w="1263650" h="567054">
                  <a:moveTo>
                    <a:pt x="1001255" y="483095"/>
                  </a:moveTo>
                  <a:lnTo>
                    <a:pt x="986015" y="483095"/>
                  </a:lnTo>
                  <a:lnTo>
                    <a:pt x="969251" y="545579"/>
                  </a:lnTo>
                  <a:lnTo>
                    <a:pt x="952487" y="483095"/>
                  </a:lnTo>
                  <a:lnTo>
                    <a:pt x="938771" y="483095"/>
                  </a:lnTo>
                  <a:lnTo>
                    <a:pt x="961631" y="565391"/>
                  </a:lnTo>
                  <a:lnTo>
                    <a:pt x="976871" y="565391"/>
                  </a:lnTo>
                  <a:lnTo>
                    <a:pt x="1001255" y="483095"/>
                  </a:lnTo>
                  <a:close/>
                </a:path>
                <a:path w="1263650" h="567054">
                  <a:moveTo>
                    <a:pt x="1043940" y="483095"/>
                  </a:moveTo>
                  <a:lnTo>
                    <a:pt x="1030224" y="483095"/>
                  </a:lnTo>
                  <a:lnTo>
                    <a:pt x="1030224" y="565404"/>
                  </a:lnTo>
                  <a:lnTo>
                    <a:pt x="1043940" y="565404"/>
                  </a:lnTo>
                  <a:lnTo>
                    <a:pt x="1043940" y="483095"/>
                  </a:lnTo>
                  <a:close/>
                </a:path>
                <a:path w="1263650" h="567054">
                  <a:moveTo>
                    <a:pt x="1130808" y="537972"/>
                  </a:moveTo>
                  <a:lnTo>
                    <a:pt x="1117092" y="537972"/>
                  </a:lnTo>
                  <a:lnTo>
                    <a:pt x="1117092" y="539496"/>
                  </a:lnTo>
                  <a:lnTo>
                    <a:pt x="1115568" y="553212"/>
                  </a:lnTo>
                  <a:lnTo>
                    <a:pt x="1109472" y="554736"/>
                  </a:lnTo>
                  <a:lnTo>
                    <a:pt x="1094232" y="554736"/>
                  </a:lnTo>
                  <a:lnTo>
                    <a:pt x="1094232" y="502920"/>
                  </a:lnTo>
                  <a:lnTo>
                    <a:pt x="1095756" y="499872"/>
                  </a:lnTo>
                  <a:lnTo>
                    <a:pt x="1095756" y="496824"/>
                  </a:lnTo>
                  <a:lnTo>
                    <a:pt x="1098804" y="493776"/>
                  </a:lnTo>
                  <a:lnTo>
                    <a:pt x="1112520" y="493776"/>
                  </a:lnTo>
                  <a:lnTo>
                    <a:pt x="1114044" y="496824"/>
                  </a:lnTo>
                  <a:lnTo>
                    <a:pt x="1115568" y="498348"/>
                  </a:lnTo>
                  <a:lnTo>
                    <a:pt x="1115568" y="481584"/>
                  </a:lnTo>
                  <a:lnTo>
                    <a:pt x="1106424" y="481584"/>
                  </a:lnTo>
                  <a:lnTo>
                    <a:pt x="1094422" y="483336"/>
                  </a:lnTo>
                  <a:lnTo>
                    <a:pt x="1085850" y="488823"/>
                  </a:lnTo>
                  <a:lnTo>
                    <a:pt x="1080706" y="498297"/>
                  </a:lnTo>
                  <a:lnTo>
                    <a:pt x="1078992" y="512064"/>
                  </a:lnTo>
                  <a:lnTo>
                    <a:pt x="1078992" y="533400"/>
                  </a:lnTo>
                  <a:lnTo>
                    <a:pt x="1081989" y="552780"/>
                  </a:lnTo>
                  <a:lnTo>
                    <a:pt x="1089279" y="562737"/>
                  </a:lnTo>
                  <a:lnTo>
                    <a:pt x="1098270" y="566394"/>
                  </a:lnTo>
                  <a:lnTo>
                    <a:pt x="1106424" y="566928"/>
                  </a:lnTo>
                  <a:lnTo>
                    <a:pt x="1118616" y="566928"/>
                  </a:lnTo>
                  <a:lnTo>
                    <a:pt x="1124712" y="560832"/>
                  </a:lnTo>
                  <a:lnTo>
                    <a:pt x="1127760" y="556260"/>
                  </a:lnTo>
                  <a:lnTo>
                    <a:pt x="1130808" y="548640"/>
                  </a:lnTo>
                  <a:lnTo>
                    <a:pt x="1130808" y="537972"/>
                  </a:lnTo>
                  <a:close/>
                </a:path>
                <a:path w="1263650" h="567054">
                  <a:moveTo>
                    <a:pt x="1208519" y="553199"/>
                  </a:moveTo>
                  <a:lnTo>
                    <a:pt x="1176515" y="553199"/>
                  </a:lnTo>
                  <a:lnTo>
                    <a:pt x="1176515" y="528815"/>
                  </a:lnTo>
                  <a:lnTo>
                    <a:pt x="1205471" y="528815"/>
                  </a:lnTo>
                  <a:lnTo>
                    <a:pt x="1205471" y="516623"/>
                  </a:lnTo>
                  <a:lnTo>
                    <a:pt x="1176515" y="516623"/>
                  </a:lnTo>
                  <a:lnTo>
                    <a:pt x="1176515" y="495287"/>
                  </a:lnTo>
                  <a:lnTo>
                    <a:pt x="1206995" y="495287"/>
                  </a:lnTo>
                  <a:lnTo>
                    <a:pt x="1206995" y="483095"/>
                  </a:lnTo>
                  <a:lnTo>
                    <a:pt x="1162799" y="483095"/>
                  </a:lnTo>
                  <a:lnTo>
                    <a:pt x="1162799" y="565391"/>
                  </a:lnTo>
                  <a:lnTo>
                    <a:pt x="1208519" y="565391"/>
                  </a:lnTo>
                  <a:lnTo>
                    <a:pt x="1208519" y="553199"/>
                  </a:lnTo>
                  <a:close/>
                </a:path>
                <a:path w="1263650" h="567054">
                  <a:moveTo>
                    <a:pt x="1254239" y="489204"/>
                  </a:moveTo>
                  <a:lnTo>
                    <a:pt x="1251191" y="487680"/>
                  </a:lnTo>
                  <a:lnTo>
                    <a:pt x="1249667" y="487680"/>
                  </a:lnTo>
                  <a:lnTo>
                    <a:pt x="1249667" y="489204"/>
                  </a:lnTo>
                  <a:lnTo>
                    <a:pt x="1249667" y="495300"/>
                  </a:lnTo>
                  <a:lnTo>
                    <a:pt x="1243571" y="495300"/>
                  </a:lnTo>
                  <a:lnTo>
                    <a:pt x="1243571" y="489204"/>
                  </a:lnTo>
                  <a:lnTo>
                    <a:pt x="1249667" y="489204"/>
                  </a:lnTo>
                  <a:lnTo>
                    <a:pt x="1249667" y="487680"/>
                  </a:lnTo>
                  <a:lnTo>
                    <a:pt x="1240523" y="487680"/>
                  </a:lnTo>
                  <a:lnTo>
                    <a:pt x="1240523" y="507492"/>
                  </a:lnTo>
                  <a:lnTo>
                    <a:pt x="1243571" y="507492"/>
                  </a:lnTo>
                  <a:lnTo>
                    <a:pt x="1243571" y="498348"/>
                  </a:lnTo>
                  <a:lnTo>
                    <a:pt x="1249667" y="498348"/>
                  </a:lnTo>
                  <a:lnTo>
                    <a:pt x="1249667" y="507492"/>
                  </a:lnTo>
                  <a:lnTo>
                    <a:pt x="1254239" y="507492"/>
                  </a:lnTo>
                  <a:lnTo>
                    <a:pt x="1252715" y="505968"/>
                  </a:lnTo>
                  <a:lnTo>
                    <a:pt x="1252715" y="498348"/>
                  </a:lnTo>
                  <a:lnTo>
                    <a:pt x="1251191" y="496824"/>
                  </a:lnTo>
                  <a:lnTo>
                    <a:pt x="1254239" y="495300"/>
                  </a:lnTo>
                  <a:lnTo>
                    <a:pt x="1254239" y="489204"/>
                  </a:lnTo>
                  <a:close/>
                </a:path>
                <a:path w="1263650" h="567054">
                  <a:moveTo>
                    <a:pt x="1263383" y="487680"/>
                  </a:moveTo>
                  <a:lnTo>
                    <a:pt x="1261859" y="486156"/>
                  </a:lnTo>
                  <a:lnTo>
                    <a:pt x="1261859" y="489204"/>
                  </a:lnTo>
                  <a:lnTo>
                    <a:pt x="1261859" y="505968"/>
                  </a:lnTo>
                  <a:lnTo>
                    <a:pt x="1254239" y="512064"/>
                  </a:lnTo>
                  <a:lnTo>
                    <a:pt x="1238999" y="512064"/>
                  </a:lnTo>
                  <a:lnTo>
                    <a:pt x="1231379" y="505968"/>
                  </a:lnTo>
                  <a:lnTo>
                    <a:pt x="1231379" y="489204"/>
                  </a:lnTo>
                  <a:lnTo>
                    <a:pt x="1238999" y="483108"/>
                  </a:lnTo>
                  <a:lnTo>
                    <a:pt x="1254239" y="483108"/>
                  </a:lnTo>
                  <a:lnTo>
                    <a:pt x="1261859" y="489204"/>
                  </a:lnTo>
                  <a:lnTo>
                    <a:pt x="1261859" y="486156"/>
                  </a:lnTo>
                  <a:lnTo>
                    <a:pt x="1258811" y="483108"/>
                  </a:lnTo>
                  <a:lnTo>
                    <a:pt x="1255763" y="480060"/>
                  </a:lnTo>
                  <a:lnTo>
                    <a:pt x="1237475" y="480060"/>
                  </a:lnTo>
                  <a:lnTo>
                    <a:pt x="1229855" y="487680"/>
                  </a:lnTo>
                  <a:lnTo>
                    <a:pt x="1229855" y="507492"/>
                  </a:lnTo>
                  <a:lnTo>
                    <a:pt x="1237475" y="513588"/>
                  </a:lnTo>
                  <a:lnTo>
                    <a:pt x="1255763" y="513588"/>
                  </a:lnTo>
                  <a:lnTo>
                    <a:pt x="1257668" y="512064"/>
                  </a:lnTo>
                  <a:lnTo>
                    <a:pt x="1263383" y="507492"/>
                  </a:lnTo>
                  <a:lnTo>
                    <a:pt x="1263383" y="487680"/>
                  </a:lnTo>
                  <a:close/>
                </a:path>
              </a:pathLst>
            </a:custGeom>
            <a:solidFill>
              <a:srgbClr val="007EA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4482084" y="5789676"/>
              <a:ext cx="220979" cy="291465"/>
            </a:xfrm>
            <a:custGeom>
              <a:avLst/>
              <a:gdLst/>
              <a:ahLst/>
              <a:cxnLst/>
              <a:rect l="l" t="t" r="r" b="b"/>
              <a:pathLst>
                <a:path w="220979" h="291464">
                  <a:moveTo>
                    <a:pt x="112776" y="291084"/>
                  </a:moveTo>
                  <a:lnTo>
                    <a:pt x="44769" y="269187"/>
                  </a:lnTo>
                  <a:lnTo>
                    <a:pt x="5437" y="200765"/>
                  </a:lnTo>
                  <a:lnTo>
                    <a:pt x="0" y="147828"/>
                  </a:lnTo>
                  <a:lnTo>
                    <a:pt x="7643" y="81010"/>
                  </a:lnTo>
                  <a:lnTo>
                    <a:pt x="29146" y="35052"/>
                  </a:lnTo>
                  <a:lnTo>
                    <a:pt x="62364" y="8524"/>
                  </a:lnTo>
                  <a:lnTo>
                    <a:pt x="105156" y="0"/>
                  </a:lnTo>
                  <a:lnTo>
                    <a:pt x="128587" y="2428"/>
                  </a:lnTo>
                  <a:lnTo>
                    <a:pt x="149733" y="9144"/>
                  </a:lnTo>
                  <a:lnTo>
                    <a:pt x="166878" y="19288"/>
                  </a:lnTo>
                  <a:lnTo>
                    <a:pt x="178308" y="32004"/>
                  </a:lnTo>
                  <a:lnTo>
                    <a:pt x="179832" y="4572"/>
                  </a:lnTo>
                  <a:lnTo>
                    <a:pt x="220980" y="4572"/>
                  </a:lnTo>
                  <a:lnTo>
                    <a:pt x="220980" y="86868"/>
                  </a:lnTo>
                  <a:lnTo>
                    <a:pt x="178308" y="86868"/>
                  </a:lnTo>
                  <a:lnTo>
                    <a:pt x="171140" y="65341"/>
                  </a:lnTo>
                  <a:lnTo>
                    <a:pt x="158686" y="50673"/>
                  </a:lnTo>
                  <a:lnTo>
                    <a:pt x="140803" y="42291"/>
                  </a:lnTo>
                  <a:lnTo>
                    <a:pt x="117348" y="39624"/>
                  </a:lnTo>
                  <a:lnTo>
                    <a:pt x="89034" y="45386"/>
                  </a:lnTo>
                  <a:lnTo>
                    <a:pt x="66865" y="64008"/>
                  </a:lnTo>
                  <a:lnTo>
                    <a:pt x="52411" y="97488"/>
                  </a:lnTo>
                  <a:lnTo>
                    <a:pt x="47244" y="147828"/>
                  </a:lnTo>
                  <a:lnTo>
                    <a:pt x="51911" y="193595"/>
                  </a:lnTo>
                  <a:lnTo>
                    <a:pt x="65151" y="225933"/>
                  </a:lnTo>
                  <a:lnTo>
                    <a:pt x="85820" y="245125"/>
                  </a:lnTo>
                  <a:lnTo>
                    <a:pt x="112776" y="251460"/>
                  </a:lnTo>
                  <a:lnTo>
                    <a:pt x="133635" y="249507"/>
                  </a:lnTo>
                  <a:lnTo>
                    <a:pt x="150495" y="243840"/>
                  </a:lnTo>
                  <a:lnTo>
                    <a:pt x="163353" y="234743"/>
                  </a:lnTo>
                  <a:lnTo>
                    <a:pt x="172212" y="222504"/>
                  </a:lnTo>
                  <a:lnTo>
                    <a:pt x="172212" y="169164"/>
                  </a:lnTo>
                  <a:lnTo>
                    <a:pt x="105156" y="169164"/>
                  </a:lnTo>
                  <a:lnTo>
                    <a:pt x="105156" y="132588"/>
                  </a:lnTo>
                  <a:lnTo>
                    <a:pt x="219456" y="132588"/>
                  </a:lnTo>
                  <a:lnTo>
                    <a:pt x="219456" y="231648"/>
                  </a:lnTo>
                  <a:lnTo>
                    <a:pt x="204930" y="256365"/>
                  </a:lnTo>
                  <a:lnTo>
                    <a:pt x="180975" y="275082"/>
                  </a:lnTo>
                  <a:lnTo>
                    <a:pt x="149590" y="286940"/>
                  </a:lnTo>
                  <a:lnTo>
                    <a:pt x="112776" y="291084"/>
                  </a:lnTo>
                  <a:close/>
                </a:path>
              </a:pathLst>
            </a:custGeom>
            <a:solidFill>
              <a:srgbClr val="FDFDF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4482084" y="5789676"/>
              <a:ext cx="220979" cy="291465"/>
            </a:xfrm>
            <a:custGeom>
              <a:avLst/>
              <a:gdLst/>
              <a:ahLst/>
              <a:cxnLst/>
              <a:rect l="l" t="t" r="r" b="b"/>
              <a:pathLst>
                <a:path w="220979" h="291464">
                  <a:moveTo>
                    <a:pt x="172212" y="222504"/>
                  </a:moveTo>
                  <a:lnTo>
                    <a:pt x="163353" y="234743"/>
                  </a:lnTo>
                  <a:lnTo>
                    <a:pt x="150495" y="243840"/>
                  </a:lnTo>
                  <a:lnTo>
                    <a:pt x="133635" y="249507"/>
                  </a:lnTo>
                  <a:lnTo>
                    <a:pt x="112776" y="251460"/>
                  </a:lnTo>
                  <a:lnTo>
                    <a:pt x="85820" y="245125"/>
                  </a:lnTo>
                  <a:lnTo>
                    <a:pt x="65151" y="225933"/>
                  </a:lnTo>
                  <a:lnTo>
                    <a:pt x="51911" y="193595"/>
                  </a:lnTo>
                  <a:lnTo>
                    <a:pt x="47244" y="147828"/>
                  </a:lnTo>
                  <a:lnTo>
                    <a:pt x="52411" y="97488"/>
                  </a:lnTo>
                  <a:lnTo>
                    <a:pt x="66865" y="64008"/>
                  </a:lnTo>
                  <a:lnTo>
                    <a:pt x="89034" y="45386"/>
                  </a:lnTo>
                  <a:lnTo>
                    <a:pt x="117348" y="39624"/>
                  </a:lnTo>
                  <a:lnTo>
                    <a:pt x="140803" y="42291"/>
                  </a:lnTo>
                  <a:lnTo>
                    <a:pt x="158686" y="50673"/>
                  </a:lnTo>
                  <a:lnTo>
                    <a:pt x="171140" y="65341"/>
                  </a:lnTo>
                  <a:lnTo>
                    <a:pt x="178308" y="86868"/>
                  </a:lnTo>
                  <a:lnTo>
                    <a:pt x="220980" y="86868"/>
                  </a:lnTo>
                  <a:lnTo>
                    <a:pt x="220980" y="4572"/>
                  </a:lnTo>
                  <a:lnTo>
                    <a:pt x="179832" y="4572"/>
                  </a:lnTo>
                  <a:lnTo>
                    <a:pt x="178308" y="32004"/>
                  </a:lnTo>
                  <a:lnTo>
                    <a:pt x="166878" y="19288"/>
                  </a:lnTo>
                  <a:lnTo>
                    <a:pt x="149733" y="9144"/>
                  </a:lnTo>
                  <a:lnTo>
                    <a:pt x="128587" y="2428"/>
                  </a:lnTo>
                  <a:lnTo>
                    <a:pt x="105156" y="0"/>
                  </a:lnTo>
                  <a:lnTo>
                    <a:pt x="62364" y="8524"/>
                  </a:lnTo>
                  <a:lnTo>
                    <a:pt x="29146" y="35052"/>
                  </a:lnTo>
                  <a:lnTo>
                    <a:pt x="7643" y="81010"/>
                  </a:lnTo>
                  <a:lnTo>
                    <a:pt x="0" y="147828"/>
                  </a:lnTo>
                  <a:lnTo>
                    <a:pt x="5437" y="200765"/>
                  </a:lnTo>
                  <a:lnTo>
                    <a:pt x="20823" y="241048"/>
                  </a:lnTo>
                  <a:lnTo>
                    <a:pt x="44769" y="269187"/>
                  </a:lnTo>
                  <a:lnTo>
                    <a:pt x="75883" y="285695"/>
                  </a:lnTo>
                  <a:lnTo>
                    <a:pt x="112776" y="291084"/>
                  </a:lnTo>
                  <a:lnTo>
                    <a:pt x="149590" y="286940"/>
                  </a:lnTo>
                  <a:lnTo>
                    <a:pt x="180975" y="275082"/>
                  </a:lnTo>
                  <a:lnTo>
                    <a:pt x="204930" y="256365"/>
                  </a:lnTo>
                  <a:lnTo>
                    <a:pt x="219456" y="231648"/>
                  </a:lnTo>
                  <a:lnTo>
                    <a:pt x="219456" y="132588"/>
                  </a:lnTo>
                  <a:lnTo>
                    <a:pt x="105156" y="132588"/>
                  </a:lnTo>
                  <a:lnTo>
                    <a:pt x="105156" y="169164"/>
                  </a:lnTo>
                  <a:lnTo>
                    <a:pt x="172212" y="169164"/>
                  </a:lnTo>
                  <a:lnTo>
                    <a:pt x="172212" y="222504"/>
                  </a:lnTo>
                  <a:close/>
                </a:path>
              </a:pathLst>
            </a:custGeom>
            <a:ln w="4762">
              <a:solidFill>
                <a:srgbClr val="FDFDF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4881371" y="5561076"/>
              <a:ext cx="335280" cy="584200"/>
            </a:xfrm>
            <a:custGeom>
              <a:avLst/>
              <a:gdLst/>
              <a:ahLst/>
              <a:cxnLst/>
              <a:rect l="l" t="t" r="r" b="b"/>
              <a:pathLst>
                <a:path w="335279" h="584200">
                  <a:moveTo>
                    <a:pt x="335280" y="583691"/>
                  </a:moveTo>
                  <a:lnTo>
                    <a:pt x="0" y="416051"/>
                  </a:lnTo>
                  <a:lnTo>
                    <a:pt x="0" y="0"/>
                  </a:lnTo>
                  <a:lnTo>
                    <a:pt x="335280" y="166116"/>
                  </a:lnTo>
                  <a:lnTo>
                    <a:pt x="335280" y="583691"/>
                  </a:lnTo>
                  <a:close/>
                </a:path>
              </a:pathLst>
            </a:custGeom>
            <a:solidFill>
              <a:srgbClr val="007EA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4965191" y="5679947"/>
              <a:ext cx="166370" cy="344805"/>
            </a:xfrm>
            <a:custGeom>
              <a:avLst/>
              <a:gdLst/>
              <a:ahLst/>
              <a:cxnLst/>
              <a:rect l="l" t="t" r="r" b="b"/>
              <a:pathLst>
                <a:path w="166370" h="344804">
                  <a:moveTo>
                    <a:pt x="166116" y="344424"/>
                  </a:moveTo>
                  <a:lnTo>
                    <a:pt x="0" y="262128"/>
                  </a:lnTo>
                  <a:lnTo>
                    <a:pt x="0" y="230124"/>
                  </a:lnTo>
                  <a:lnTo>
                    <a:pt x="24384" y="242316"/>
                  </a:lnTo>
                  <a:lnTo>
                    <a:pt x="24384" y="44196"/>
                  </a:lnTo>
                  <a:lnTo>
                    <a:pt x="0" y="32004"/>
                  </a:lnTo>
                  <a:lnTo>
                    <a:pt x="0" y="0"/>
                  </a:lnTo>
                  <a:lnTo>
                    <a:pt x="166116" y="82296"/>
                  </a:lnTo>
                  <a:lnTo>
                    <a:pt x="166116" y="144780"/>
                  </a:lnTo>
                  <a:lnTo>
                    <a:pt x="132588" y="128016"/>
                  </a:lnTo>
                  <a:lnTo>
                    <a:pt x="132588" y="97536"/>
                  </a:lnTo>
                  <a:lnTo>
                    <a:pt x="62484" y="62484"/>
                  </a:lnTo>
                  <a:lnTo>
                    <a:pt x="62484" y="143255"/>
                  </a:lnTo>
                  <a:lnTo>
                    <a:pt x="146304" y="184404"/>
                  </a:lnTo>
                  <a:lnTo>
                    <a:pt x="146304" y="217932"/>
                  </a:lnTo>
                  <a:lnTo>
                    <a:pt x="62484" y="176784"/>
                  </a:lnTo>
                  <a:lnTo>
                    <a:pt x="62484" y="260604"/>
                  </a:lnTo>
                  <a:lnTo>
                    <a:pt x="132588" y="295656"/>
                  </a:lnTo>
                  <a:lnTo>
                    <a:pt x="132588" y="257556"/>
                  </a:lnTo>
                  <a:lnTo>
                    <a:pt x="166116" y="274320"/>
                  </a:lnTo>
                  <a:lnTo>
                    <a:pt x="166116" y="344424"/>
                  </a:lnTo>
                  <a:close/>
                </a:path>
              </a:pathLst>
            </a:custGeom>
            <a:solidFill>
              <a:srgbClr val="FDFDF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/>
            <p:cNvSpPr/>
            <p:nvPr/>
          </p:nvSpPr>
          <p:spPr>
            <a:xfrm>
              <a:off x="4965191" y="5679947"/>
              <a:ext cx="166370" cy="344805"/>
            </a:xfrm>
            <a:custGeom>
              <a:avLst/>
              <a:gdLst/>
              <a:ahLst/>
              <a:cxnLst/>
              <a:rect l="l" t="t" r="r" b="b"/>
              <a:pathLst>
                <a:path w="166370" h="344804">
                  <a:moveTo>
                    <a:pt x="166116" y="344424"/>
                  </a:moveTo>
                  <a:lnTo>
                    <a:pt x="166116" y="274320"/>
                  </a:lnTo>
                  <a:lnTo>
                    <a:pt x="132588" y="257556"/>
                  </a:lnTo>
                  <a:lnTo>
                    <a:pt x="132588" y="295656"/>
                  </a:lnTo>
                  <a:lnTo>
                    <a:pt x="62484" y="260604"/>
                  </a:lnTo>
                  <a:lnTo>
                    <a:pt x="62484" y="176784"/>
                  </a:lnTo>
                  <a:lnTo>
                    <a:pt x="146304" y="217932"/>
                  </a:lnTo>
                  <a:lnTo>
                    <a:pt x="146304" y="184404"/>
                  </a:lnTo>
                  <a:lnTo>
                    <a:pt x="62484" y="143255"/>
                  </a:lnTo>
                  <a:lnTo>
                    <a:pt x="62484" y="62484"/>
                  </a:lnTo>
                  <a:lnTo>
                    <a:pt x="132588" y="97536"/>
                  </a:lnTo>
                  <a:lnTo>
                    <a:pt x="132588" y="128016"/>
                  </a:lnTo>
                  <a:lnTo>
                    <a:pt x="166116" y="144780"/>
                  </a:lnTo>
                  <a:lnTo>
                    <a:pt x="166116" y="82296"/>
                  </a:lnTo>
                  <a:lnTo>
                    <a:pt x="0" y="0"/>
                  </a:lnTo>
                  <a:lnTo>
                    <a:pt x="0" y="32004"/>
                  </a:lnTo>
                  <a:lnTo>
                    <a:pt x="24384" y="44196"/>
                  </a:lnTo>
                  <a:lnTo>
                    <a:pt x="24384" y="242316"/>
                  </a:lnTo>
                  <a:lnTo>
                    <a:pt x="0" y="230124"/>
                  </a:lnTo>
                  <a:lnTo>
                    <a:pt x="0" y="262128"/>
                  </a:lnTo>
                  <a:lnTo>
                    <a:pt x="166116" y="344424"/>
                  </a:lnTo>
                  <a:close/>
                </a:path>
              </a:pathLst>
            </a:custGeom>
            <a:ln w="4762">
              <a:solidFill>
                <a:srgbClr val="FDFDF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5257800" y="5727192"/>
              <a:ext cx="421005" cy="417830"/>
            </a:xfrm>
            <a:custGeom>
              <a:avLst/>
              <a:gdLst/>
              <a:ahLst/>
              <a:cxnLst/>
              <a:rect l="l" t="t" r="r" b="b"/>
              <a:pathLst>
                <a:path w="421004" h="417829">
                  <a:moveTo>
                    <a:pt x="420623" y="417575"/>
                  </a:moveTo>
                  <a:lnTo>
                    <a:pt x="0" y="417575"/>
                  </a:lnTo>
                  <a:lnTo>
                    <a:pt x="0" y="0"/>
                  </a:lnTo>
                  <a:lnTo>
                    <a:pt x="420623" y="0"/>
                  </a:lnTo>
                  <a:lnTo>
                    <a:pt x="420623" y="417575"/>
                  </a:lnTo>
                  <a:close/>
                </a:path>
              </a:pathLst>
            </a:custGeom>
            <a:solidFill>
              <a:srgbClr val="007EA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5341620" y="5794248"/>
              <a:ext cx="251460" cy="283845"/>
            </a:xfrm>
            <a:custGeom>
              <a:avLst/>
              <a:gdLst/>
              <a:ahLst/>
              <a:cxnLst/>
              <a:rect l="l" t="t" r="r" b="b"/>
              <a:pathLst>
                <a:path w="251460" h="283845">
                  <a:moveTo>
                    <a:pt x="126492" y="283464"/>
                  </a:moveTo>
                  <a:lnTo>
                    <a:pt x="0" y="283464"/>
                  </a:lnTo>
                  <a:lnTo>
                    <a:pt x="0" y="248412"/>
                  </a:lnTo>
                  <a:lnTo>
                    <a:pt x="126492" y="248412"/>
                  </a:lnTo>
                  <a:lnTo>
                    <a:pt x="161782" y="243101"/>
                  </a:lnTo>
                  <a:lnTo>
                    <a:pt x="185928" y="225361"/>
                  </a:lnTo>
                  <a:lnTo>
                    <a:pt x="199786" y="192476"/>
                  </a:lnTo>
                  <a:lnTo>
                    <a:pt x="204216" y="141732"/>
                  </a:lnTo>
                  <a:lnTo>
                    <a:pt x="199786" y="90749"/>
                  </a:lnTo>
                  <a:lnTo>
                    <a:pt x="185928" y="57340"/>
                  </a:lnTo>
                  <a:lnTo>
                    <a:pt x="161782" y="39076"/>
                  </a:lnTo>
                  <a:lnTo>
                    <a:pt x="126492" y="33528"/>
                  </a:lnTo>
                  <a:lnTo>
                    <a:pt x="1524" y="33528"/>
                  </a:lnTo>
                  <a:lnTo>
                    <a:pt x="1524" y="0"/>
                  </a:lnTo>
                  <a:lnTo>
                    <a:pt x="126492" y="0"/>
                  </a:lnTo>
                  <a:lnTo>
                    <a:pt x="173431" y="4059"/>
                  </a:lnTo>
                  <a:lnTo>
                    <a:pt x="208666" y="17849"/>
                  </a:lnTo>
                  <a:lnTo>
                    <a:pt x="232928" y="43781"/>
                  </a:lnTo>
                  <a:lnTo>
                    <a:pt x="246948" y="84271"/>
                  </a:lnTo>
                  <a:lnTo>
                    <a:pt x="251460" y="141732"/>
                  </a:lnTo>
                  <a:lnTo>
                    <a:pt x="246948" y="198607"/>
                  </a:lnTo>
                  <a:lnTo>
                    <a:pt x="232928" y="239024"/>
                  </a:lnTo>
                  <a:lnTo>
                    <a:pt x="208666" y="265176"/>
                  </a:lnTo>
                  <a:lnTo>
                    <a:pt x="173431" y="279257"/>
                  </a:lnTo>
                  <a:lnTo>
                    <a:pt x="126492" y="283464"/>
                  </a:lnTo>
                  <a:close/>
                </a:path>
                <a:path w="251460" h="283845">
                  <a:moveTo>
                    <a:pt x="80772" y="248412"/>
                  </a:moveTo>
                  <a:lnTo>
                    <a:pt x="32004" y="248412"/>
                  </a:lnTo>
                  <a:lnTo>
                    <a:pt x="32004" y="33528"/>
                  </a:lnTo>
                  <a:lnTo>
                    <a:pt x="80772" y="33528"/>
                  </a:lnTo>
                  <a:lnTo>
                    <a:pt x="80772" y="248412"/>
                  </a:lnTo>
                  <a:close/>
                </a:path>
              </a:pathLst>
            </a:custGeom>
            <a:solidFill>
              <a:srgbClr val="FDFDF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1" name="object 31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5420011" y="5825394"/>
              <a:ext cx="128206" cy="219646"/>
            </a:xfrm>
            <a:prstGeom prst="rect">
              <a:avLst/>
            </a:prstGeom>
          </p:spPr>
        </p:pic>
        <p:sp>
          <p:nvSpPr>
            <p:cNvPr id="32" name="object 32"/>
            <p:cNvSpPr/>
            <p:nvPr/>
          </p:nvSpPr>
          <p:spPr>
            <a:xfrm>
              <a:off x="5341620" y="5794248"/>
              <a:ext cx="251460" cy="283845"/>
            </a:xfrm>
            <a:custGeom>
              <a:avLst/>
              <a:gdLst/>
              <a:ahLst/>
              <a:cxnLst/>
              <a:rect l="l" t="t" r="r" b="b"/>
              <a:pathLst>
                <a:path w="251460" h="283845">
                  <a:moveTo>
                    <a:pt x="126492" y="283464"/>
                  </a:moveTo>
                  <a:lnTo>
                    <a:pt x="173431" y="279257"/>
                  </a:lnTo>
                  <a:lnTo>
                    <a:pt x="208666" y="265176"/>
                  </a:lnTo>
                  <a:lnTo>
                    <a:pt x="232928" y="239024"/>
                  </a:lnTo>
                  <a:lnTo>
                    <a:pt x="246948" y="198607"/>
                  </a:lnTo>
                  <a:lnTo>
                    <a:pt x="251460" y="141732"/>
                  </a:lnTo>
                  <a:lnTo>
                    <a:pt x="246948" y="84271"/>
                  </a:lnTo>
                  <a:lnTo>
                    <a:pt x="232928" y="43781"/>
                  </a:lnTo>
                  <a:lnTo>
                    <a:pt x="208666" y="17849"/>
                  </a:lnTo>
                  <a:lnTo>
                    <a:pt x="173431" y="4059"/>
                  </a:lnTo>
                  <a:lnTo>
                    <a:pt x="126492" y="0"/>
                  </a:lnTo>
                  <a:lnTo>
                    <a:pt x="1524" y="0"/>
                  </a:lnTo>
                  <a:lnTo>
                    <a:pt x="1524" y="33528"/>
                  </a:lnTo>
                  <a:lnTo>
                    <a:pt x="32004" y="33528"/>
                  </a:lnTo>
                  <a:lnTo>
                    <a:pt x="32004" y="248412"/>
                  </a:lnTo>
                  <a:lnTo>
                    <a:pt x="0" y="248412"/>
                  </a:lnTo>
                  <a:lnTo>
                    <a:pt x="0" y="283464"/>
                  </a:lnTo>
                  <a:lnTo>
                    <a:pt x="126492" y="283464"/>
                  </a:lnTo>
                  <a:close/>
                </a:path>
              </a:pathLst>
            </a:custGeom>
            <a:ln w="4762">
              <a:solidFill>
                <a:srgbClr val="FDFDF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3" name="object 33"/>
          <p:cNvSpPr txBox="1"/>
          <p:nvPr/>
        </p:nvSpPr>
        <p:spPr>
          <a:xfrm>
            <a:off x="2078220" y="4623090"/>
            <a:ext cx="5946140" cy="89178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 algn="ctr">
              <a:lnSpc>
                <a:spcPct val="130300"/>
              </a:lnSpc>
              <a:spcBef>
                <a:spcPts val="90"/>
              </a:spcBef>
            </a:pPr>
            <a:r>
              <a:rPr lang="en-US" sz="1450" b="1" dirty="0">
                <a:latin typeface="Arial"/>
                <a:cs typeface="Arial"/>
              </a:rPr>
              <a:t>Pat Leonard, Strategic Alliances and Partnerships</a:t>
            </a:r>
          </a:p>
          <a:p>
            <a:pPr marL="12700" marR="5080" algn="ctr">
              <a:lnSpc>
                <a:spcPct val="130300"/>
              </a:lnSpc>
              <a:spcBef>
                <a:spcPts val="90"/>
              </a:spcBef>
            </a:pPr>
            <a:r>
              <a:rPr lang="en-US" sz="1450" b="1" dirty="0">
                <a:latin typeface="Arial"/>
                <a:cs typeface="Arial"/>
              </a:rPr>
              <a:t>Pearson Workforce Skills</a:t>
            </a:r>
            <a:endParaRPr sz="1450" b="1" dirty="0"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530"/>
              </a:spcBef>
            </a:pPr>
            <a:r>
              <a:rPr sz="1450" b="1" spc="15" dirty="0">
                <a:latin typeface="Arial"/>
                <a:cs typeface="Arial"/>
              </a:rPr>
              <a:t>July</a:t>
            </a:r>
            <a:r>
              <a:rPr sz="1450" b="1" spc="-45" dirty="0">
                <a:latin typeface="Arial"/>
                <a:cs typeface="Arial"/>
              </a:rPr>
              <a:t> </a:t>
            </a:r>
            <a:r>
              <a:rPr sz="1450" b="1" spc="20" dirty="0">
                <a:latin typeface="Arial"/>
                <a:cs typeface="Arial"/>
              </a:rPr>
              <a:t>2023</a:t>
            </a:r>
            <a:endParaRPr sz="1450" dirty="0">
              <a:latin typeface="Arial"/>
              <a:cs typeface="Arial"/>
            </a:endParaRPr>
          </a:p>
        </p:txBody>
      </p:sp>
      <p:sp>
        <p:nvSpPr>
          <p:cNvPr id="34" name="object 34"/>
          <p:cNvSpPr txBox="1">
            <a:spLocks noGrp="1"/>
          </p:cNvSpPr>
          <p:nvPr>
            <p:ph type="title"/>
          </p:nvPr>
        </p:nvSpPr>
        <p:spPr>
          <a:xfrm>
            <a:off x="756906" y="3300485"/>
            <a:ext cx="8549005" cy="1128194"/>
          </a:xfrm>
          <a:prstGeom prst="rect">
            <a:avLst/>
          </a:prstGeom>
        </p:spPr>
        <p:txBody>
          <a:bodyPr vert="horz" wrap="square" lIns="0" tIns="80645" rIns="0" bIns="0" rtlCol="0">
            <a:spAutoFit/>
          </a:bodyPr>
          <a:lstStyle/>
          <a:p>
            <a:pPr marL="12700" marR="5080" indent="911225">
              <a:lnSpc>
                <a:spcPts val="4280"/>
              </a:lnSpc>
              <a:spcBef>
                <a:spcPts val="635"/>
              </a:spcBef>
            </a:pPr>
            <a:r>
              <a:rPr lang="en-US" sz="2800" dirty="0"/>
              <a:t>How to help your students leverage the Career Currency of their Credly GED credential</a:t>
            </a:r>
            <a:endParaRPr sz="3950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7B3E6C0-262F-D559-A102-8255C479297E}"/>
              </a:ext>
            </a:extLst>
          </p:cNvPr>
          <p:cNvSpPr txBox="1"/>
          <p:nvPr/>
        </p:nvSpPr>
        <p:spPr>
          <a:xfrm>
            <a:off x="3661938" y="6913345"/>
            <a:ext cx="22485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leonard@credly.com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5" name="Google Shape;755;p99"/>
          <p:cNvSpPr/>
          <p:nvPr/>
        </p:nvSpPr>
        <p:spPr>
          <a:xfrm>
            <a:off x="333988" y="2541148"/>
            <a:ext cx="9372660" cy="186879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00568" tIns="100568" rIns="100568" bIns="100568" anchor="ctr" anchorCtr="0">
            <a:noAutofit/>
          </a:bodyPr>
          <a:lstStyle/>
          <a:p>
            <a:pPr defTabSz="1005840">
              <a:defRPr/>
            </a:pPr>
            <a:endParaRPr sz="1980" kern="0">
              <a:solidFill>
                <a:sysClr val="windowText" lastClr="000000"/>
              </a:solidFill>
            </a:endParaRPr>
          </a:p>
        </p:txBody>
      </p:sp>
      <p:pic>
        <p:nvPicPr>
          <p:cNvPr id="756" name="Google Shape;756;p99"/>
          <p:cNvPicPr preferRelativeResize="0"/>
          <p:nvPr/>
        </p:nvPicPr>
        <p:blipFill rotWithShape="1">
          <a:blip r:embed="rId3">
            <a:alphaModFix amt="20000"/>
          </a:blip>
          <a:srcRect t="33195" b="36898"/>
          <a:stretch/>
        </p:blipFill>
        <p:spPr>
          <a:xfrm>
            <a:off x="333988" y="2548876"/>
            <a:ext cx="9372660" cy="1868653"/>
          </a:xfrm>
          <a:prstGeom prst="rect">
            <a:avLst/>
          </a:prstGeom>
          <a:noFill/>
          <a:ln>
            <a:noFill/>
          </a:ln>
        </p:spPr>
      </p:pic>
      <p:sp>
        <p:nvSpPr>
          <p:cNvPr id="757" name="Google Shape;757;p99"/>
          <p:cNvSpPr txBox="1">
            <a:spLocks noGrp="1"/>
          </p:cNvSpPr>
          <p:nvPr>
            <p:ph type="title"/>
          </p:nvPr>
        </p:nvSpPr>
        <p:spPr>
          <a:xfrm>
            <a:off x="342870" y="1546802"/>
            <a:ext cx="9372660" cy="629970"/>
          </a:xfrm>
          <a:prstGeom prst="rect">
            <a:avLst/>
          </a:prstGeom>
        </p:spPr>
        <p:txBody>
          <a:bodyPr spcFirstLastPara="1" wrap="square" lIns="100568" tIns="100568" rIns="100568" bIns="100568" anchor="t" anchorCtr="0">
            <a:noAutofit/>
          </a:bodyPr>
          <a:lstStyle/>
          <a:p>
            <a:pPr algn="l"/>
            <a:r>
              <a:rPr lang="en"/>
              <a:t>Colorado Community College System</a:t>
            </a:r>
            <a:endParaRPr/>
          </a:p>
          <a:p>
            <a:pPr algn="l"/>
            <a:endParaRPr/>
          </a:p>
          <a:p>
            <a:pPr algn="l"/>
            <a:endParaRPr/>
          </a:p>
        </p:txBody>
      </p:sp>
      <p:sp>
        <p:nvSpPr>
          <p:cNvPr id="758" name="Google Shape;758;p99"/>
          <p:cNvSpPr txBox="1">
            <a:spLocks noGrp="1"/>
          </p:cNvSpPr>
          <p:nvPr>
            <p:ph type="body" idx="4"/>
          </p:nvPr>
        </p:nvSpPr>
        <p:spPr>
          <a:xfrm>
            <a:off x="7471200" y="4669895"/>
            <a:ext cx="2136750" cy="1046100"/>
          </a:xfrm>
          <a:prstGeom prst="rect">
            <a:avLst/>
          </a:prstGeom>
        </p:spPr>
        <p:txBody>
          <a:bodyPr spcFirstLastPara="1" wrap="square" lIns="100568" tIns="100568" rIns="100568" bIns="100568" anchor="t" anchorCtr="0">
            <a:noAutofit/>
          </a:bodyPr>
          <a:lstStyle/>
          <a:p>
            <a:pPr marL="0" indent="0" algn="ctr">
              <a:spcAft>
                <a:spcPts val="1100"/>
              </a:spcAft>
              <a:buNone/>
            </a:pPr>
            <a:r>
              <a:rPr lang="en" sz="1430"/>
              <a:t>Increase in job placement </a:t>
            </a:r>
            <a:endParaRPr sz="1430"/>
          </a:p>
        </p:txBody>
      </p:sp>
      <p:sp>
        <p:nvSpPr>
          <p:cNvPr id="759" name="Google Shape;759;p99"/>
          <p:cNvSpPr txBox="1">
            <a:spLocks noGrp="1"/>
          </p:cNvSpPr>
          <p:nvPr>
            <p:ph type="subTitle" idx="1"/>
          </p:nvPr>
        </p:nvSpPr>
        <p:spPr>
          <a:xfrm>
            <a:off x="342870" y="2070293"/>
            <a:ext cx="9265080" cy="383790"/>
          </a:xfrm>
          <a:prstGeom prst="rect">
            <a:avLst/>
          </a:prstGeom>
        </p:spPr>
        <p:txBody>
          <a:bodyPr spcFirstLastPara="1" wrap="square" lIns="100568" tIns="100568" rIns="100568" bIns="100568" anchor="t" anchorCtr="0">
            <a:noAutofit/>
          </a:bodyPr>
          <a:lstStyle/>
          <a:p>
            <a:pPr>
              <a:spcAft>
                <a:spcPts val="1100"/>
              </a:spcAft>
            </a:pPr>
            <a:r>
              <a:rPr lang="en"/>
              <a:t>The Power of Digital Credentials </a:t>
            </a:r>
            <a:endParaRPr/>
          </a:p>
        </p:txBody>
      </p:sp>
      <p:sp>
        <p:nvSpPr>
          <p:cNvPr id="761" name="Google Shape;761;p99"/>
          <p:cNvSpPr txBox="1">
            <a:spLocks noGrp="1"/>
          </p:cNvSpPr>
          <p:nvPr>
            <p:ph type="body" idx="4"/>
          </p:nvPr>
        </p:nvSpPr>
        <p:spPr>
          <a:xfrm>
            <a:off x="3970877" y="4669895"/>
            <a:ext cx="2116620" cy="1046100"/>
          </a:xfrm>
          <a:prstGeom prst="rect">
            <a:avLst/>
          </a:prstGeom>
        </p:spPr>
        <p:txBody>
          <a:bodyPr spcFirstLastPara="1" wrap="square" lIns="100568" tIns="100568" rIns="100568" bIns="100568" anchor="t" anchorCtr="0">
            <a:noAutofit/>
          </a:bodyPr>
          <a:lstStyle/>
          <a:p>
            <a:pPr marL="0" indent="0" algn="ctr">
              <a:spcAft>
                <a:spcPts val="1100"/>
              </a:spcAft>
              <a:buNone/>
            </a:pPr>
            <a:r>
              <a:rPr lang="en" sz="1430"/>
              <a:t>Created learning and career pathways</a:t>
            </a:r>
            <a:endParaRPr sz="1430"/>
          </a:p>
        </p:txBody>
      </p:sp>
      <p:sp>
        <p:nvSpPr>
          <p:cNvPr id="762" name="Google Shape;762;p99"/>
          <p:cNvSpPr txBox="1">
            <a:spLocks noGrp="1"/>
          </p:cNvSpPr>
          <p:nvPr>
            <p:ph type="body" idx="4"/>
          </p:nvPr>
        </p:nvSpPr>
        <p:spPr>
          <a:xfrm>
            <a:off x="362917" y="4669895"/>
            <a:ext cx="2136750" cy="1046100"/>
          </a:xfrm>
          <a:prstGeom prst="rect">
            <a:avLst/>
          </a:prstGeom>
        </p:spPr>
        <p:txBody>
          <a:bodyPr spcFirstLastPara="1" wrap="square" lIns="100568" tIns="100568" rIns="100568" bIns="100568" anchor="t" anchorCtr="0">
            <a:noAutofit/>
          </a:bodyPr>
          <a:lstStyle/>
          <a:p>
            <a:pPr marL="0" indent="0" algn="ctr">
              <a:spcAft>
                <a:spcPts val="1100"/>
              </a:spcAft>
              <a:buNone/>
            </a:pPr>
            <a:r>
              <a:rPr lang="en" sz="1430"/>
              <a:t>500,000 social media impressions</a:t>
            </a:r>
            <a:endParaRPr sz="1430"/>
          </a:p>
        </p:txBody>
      </p:sp>
      <p:pic>
        <p:nvPicPr>
          <p:cNvPr id="763" name="Google Shape;763;p99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888085" y="3798090"/>
            <a:ext cx="844906" cy="844906"/>
          </a:xfrm>
          <a:prstGeom prst="rect">
            <a:avLst/>
          </a:prstGeom>
          <a:noFill/>
          <a:ln>
            <a:noFill/>
          </a:ln>
        </p:spPr>
      </p:pic>
      <p:pic>
        <p:nvPicPr>
          <p:cNvPr id="764" name="Google Shape;764;p99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8016525" y="3798090"/>
            <a:ext cx="844906" cy="844906"/>
          </a:xfrm>
          <a:prstGeom prst="rect">
            <a:avLst/>
          </a:prstGeom>
          <a:noFill/>
          <a:ln>
            <a:noFill/>
          </a:ln>
        </p:spPr>
      </p:pic>
      <p:pic>
        <p:nvPicPr>
          <p:cNvPr id="765" name="Google Shape;765;p99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4452305" y="3798090"/>
            <a:ext cx="844906" cy="84490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324147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7C7A056-AFD6-9BCB-419E-7FF8306779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10" y="1058585"/>
          <a:ext cx="1310" cy="13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C7A056-AFD6-9BCB-419E-7FF8306779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10" y="1058585"/>
                        <a:ext cx="1310" cy="13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F158672-43D8-B0CF-704B-055F2C41CB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6576" y="1528763"/>
            <a:ext cx="8434124" cy="923330"/>
          </a:xfrm>
        </p:spPr>
        <p:txBody>
          <a:bodyPr vert="horz">
            <a:normAutofit/>
          </a:bodyPr>
          <a:lstStyle/>
          <a:p>
            <a:r>
              <a:rPr lang="en-GB" dirty="0"/>
              <a:t>Case Study: From employee engagement to enterprise-wide skills platfor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3AF0A4-2C88-BB54-E2BC-ED903140A2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EEAC2BAD-9516-2B47-9900-7FC05ED2F002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  <p:pic>
        <p:nvPicPr>
          <p:cNvPr id="12" name="Google Shape;2751;p42" descr="IBM logo | Logok">
            <a:extLst>
              <a:ext uri="{FF2B5EF4-FFF2-40B4-BE49-F238E27FC236}">
                <a16:creationId xmlns:a16="http://schemas.microsoft.com/office/drawing/2014/main" id="{34A3F698-D279-CF98-E8FF-E05A7565624C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592543" y="3610838"/>
            <a:ext cx="2422922" cy="1817191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Google Shape;2752;p42">
            <a:extLst>
              <a:ext uri="{FF2B5EF4-FFF2-40B4-BE49-F238E27FC236}">
                <a16:creationId xmlns:a16="http://schemas.microsoft.com/office/drawing/2014/main" id="{A6DA3D34-CE52-50F1-6B15-DCF17EAD75EF}"/>
              </a:ext>
            </a:extLst>
          </p:cNvPr>
          <p:cNvSpPr/>
          <p:nvPr/>
        </p:nvSpPr>
        <p:spPr>
          <a:xfrm>
            <a:off x="3422537" y="2795230"/>
            <a:ext cx="6001539" cy="3448408"/>
          </a:xfrm>
          <a:prstGeom prst="roundRect">
            <a:avLst>
              <a:gd name="adj" fmla="val 3909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56574" tIns="28277" rIns="56574" bIns="28277" anchor="ctr" anchorCtr="0">
            <a:noAutofit/>
          </a:bodyPr>
          <a:lstStyle/>
          <a:p>
            <a:pPr algn="ctr"/>
            <a:endParaRPr sz="649" b="1" baseline="30000">
              <a:solidFill>
                <a:srgbClr val="000000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14" name="Google Shape;2753;p42">
            <a:extLst>
              <a:ext uri="{FF2B5EF4-FFF2-40B4-BE49-F238E27FC236}">
                <a16:creationId xmlns:a16="http://schemas.microsoft.com/office/drawing/2014/main" id="{E8F29409-4B7C-FE62-568B-5C6009908DF5}"/>
              </a:ext>
            </a:extLst>
          </p:cNvPr>
          <p:cNvSpPr/>
          <p:nvPr/>
        </p:nvSpPr>
        <p:spPr>
          <a:xfrm>
            <a:off x="3682045" y="2940686"/>
            <a:ext cx="4932890" cy="1719468"/>
          </a:xfrm>
          <a:prstGeom prst="roundRect">
            <a:avLst>
              <a:gd name="adj" fmla="val 1886"/>
            </a:avLst>
          </a:prstGeom>
          <a:noFill/>
          <a:ln>
            <a:noFill/>
          </a:ln>
        </p:spPr>
        <p:txBody>
          <a:bodyPr spcFirstLastPara="1" wrap="square" lIns="75426" tIns="37703" rIns="75426" bIns="37703" anchor="t" anchorCtr="0">
            <a:spAutoFit/>
          </a:bodyPr>
          <a:lstStyle/>
          <a:p>
            <a:r>
              <a:rPr lang="en-US" sz="1980" b="1" dirty="0">
                <a:solidFill>
                  <a:srgbClr val="007FA3"/>
                </a:solidFill>
                <a:ea typeface="Lato"/>
                <a:cs typeface="Calibri"/>
                <a:sym typeface="Lato"/>
              </a:rPr>
              <a:t>Quick Stats:</a:t>
            </a:r>
            <a:endParaRPr lang="en-US" sz="2970" dirty="0">
              <a:solidFill>
                <a:srgbClr val="007FA3"/>
              </a:solidFill>
              <a:cs typeface="Calibri"/>
            </a:endParaRPr>
          </a:p>
          <a:p>
            <a:pPr marL="176546" indent="-176546">
              <a:spcBef>
                <a:spcPts val="248"/>
              </a:spcBef>
              <a:spcAft>
                <a:spcPts val="495"/>
              </a:spcAft>
              <a:buClr>
                <a:srgbClr val="000000"/>
              </a:buClr>
              <a:buSzPts val="900"/>
              <a:buFont typeface="Noto Sans Symbols"/>
              <a:buChar char="▪"/>
            </a:pPr>
            <a:r>
              <a:rPr lang="en-US" sz="1485" dirty="0">
                <a:solidFill>
                  <a:srgbClr val="000000"/>
                </a:solidFill>
                <a:latin typeface=" open sans light"/>
                <a:ea typeface="Lato"/>
                <a:cs typeface="Calibri"/>
                <a:sym typeface="Lato"/>
              </a:rPr>
              <a:t>48% increased employee engagement, 36% increased customer satisfaction, and 34% increased productivity</a:t>
            </a:r>
            <a:endParaRPr lang="en-US" sz="1485" dirty="0">
              <a:solidFill>
                <a:srgbClr val="000000"/>
              </a:solidFill>
              <a:latin typeface=" open sans light"/>
              <a:ea typeface="Lato"/>
              <a:cs typeface="Calibri"/>
            </a:endParaRPr>
          </a:p>
          <a:p>
            <a:pPr marL="176546" indent="-176546">
              <a:spcBef>
                <a:spcPts val="248"/>
              </a:spcBef>
              <a:spcAft>
                <a:spcPts val="495"/>
              </a:spcAft>
              <a:buClr>
                <a:srgbClr val="000000"/>
              </a:buClr>
              <a:buSzPts val="900"/>
              <a:buFont typeface="Noto Sans Symbols"/>
              <a:buChar char="▪"/>
            </a:pPr>
            <a:r>
              <a:rPr lang="en-US" sz="1485" dirty="0">
                <a:solidFill>
                  <a:srgbClr val="000000"/>
                </a:solidFill>
                <a:latin typeface=" open sans light"/>
                <a:ea typeface="Lato"/>
                <a:cs typeface="Calibri"/>
                <a:sym typeface="Lato"/>
              </a:rPr>
              <a:t>IBM makes our skills data discoverable to HR and managers in real-time; informs people analytics and strategic workforce planning.</a:t>
            </a:r>
            <a:endParaRPr lang="en-US" sz="1485" dirty="0">
              <a:solidFill>
                <a:srgbClr val="000000"/>
              </a:solidFill>
              <a:latin typeface=" open sans light"/>
              <a:ea typeface="Lato"/>
              <a:cs typeface="Calibri"/>
            </a:endParaRPr>
          </a:p>
        </p:txBody>
      </p:sp>
      <p:sp>
        <p:nvSpPr>
          <p:cNvPr id="35" name="Google Shape;2774;p42">
            <a:extLst>
              <a:ext uri="{FF2B5EF4-FFF2-40B4-BE49-F238E27FC236}">
                <a16:creationId xmlns:a16="http://schemas.microsoft.com/office/drawing/2014/main" id="{F0FF4219-7047-9F78-50E0-370161C4741C}"/>
              </a:ext>
            </a:extLst>
          </p:cNvPr>
          <p:cNvSpPr/>
          <p:nvPr/>
        </p:nvSpPr>
        <p:spPr>
          <a:xfrm>
            <a:off x="4067772" y="4845491"/>
            <a:ext cx="1589277" cy="4824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5426" tIns="37703" rIns="75426" bIns="37703" anchor="t" anchorCtr="0">
            <a:spAutoFit/>
          </a:bodyPr>
          <a:lstStyle/>
          <a:p>
            <a:r>
              <a:rPr lang="en-US" sz="2640" b="1" dirty="0">
                <a:solidFill>
                  <a:srgbClr val="F36C21"/>
                </a:solidFill>
                <a:latin typeface="Lato"/>
                <a:ea typeface="Lato"/>
                <a:cs typeface="Lato"/>
                <a:sym typeface="Lato"/>
              </a:rPr>
              <a:t>125%</a:t>
            </a:r>
            <a:endParaRPr sz="1980" b="1" dirty="0">
              <a:solidFill>
                <a:srgbClr val="F36C21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36" name="Google Shape;2775;p42">
            <a:extLst>
              <a:ext uri="{FF2B5EF4-FFF2-40B4-BE49-F238E27FC236}">
                <a16:creationId xmlns:a16="http://schemas.microsoft.com/office/drawing/2014/main" id="{796D11D7-8158-2D47-2599-5130679A4EA4}"/>
              </a:ext>
            </a:extLst>
          </p:cNvPr>
          <p:cNvSpPr txBox="1"/>
          <p:nvPr/>
        </p:nvSpPr>
        <p:spPr>
          <a:xfrm>
            <a:off x="3783393" y="5324056"/>
            <a:ext cx="1578990" cy="6093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5426" tIns="37703" rIns="75426" bIns="37703" anchor="t" anchorCtr="0">
            <a:spAutoFit/>
          </a:bodyPr>
          <a:lstStyle/>
          <a:p>
            <a:pPr algn="ctr"/>
            <a:r>
              <a:rPr lang="en-US" sz="1155" dirty="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Course enrollments in IBM-credential online courses increased</a:t>
            </a:r>
            <a:endParaRPr sz="2970" dirty="0"/>
          </a:p>
        </p:txBody>
      </p:sp>
      <p:sp>
        <p:nvSpPr>
          <p:cNvPr id="37" name="Google Shape;2776;p42">
            <a:extLst>
              <a:ext uri="{FF2B5EF4-FFF2-40B4-BE49-F238E27FC236}">
                <a16:creationId xmlns:a16="http://schemas.microsoft.com/office/drawing/2014/main" id="{E13F550E-A93C-F2D4-E7CC-7FC35F9301AE}"/>
              </a:ext>
            </a:extLst>
          </p:cNvPr>
          <p:cNvSpPr/>
          <p:nvPr/>
        </p:nvSpPr>
        <p:spPr>
          <a:xfrm>
            <a:off x="7950075" y="4756404"/>
            <a:ext cx="907974" cy="4824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5426" tIns="37703" rIns="75426" bIns="37703" anchor="t" anchorCtr="0">
            <a:spAutoFit/>
          </a:bodyPr>
          <a:lstStyle/>
          <a:p>
            <a:r>
              <a:rPr lang="en-US" sz="2640" b="1" dirty="0">
                <a:solidFill>
                  <a:srgbClr val="F36C21"/>
                </a:solidFill>
                <a:latin typeface="Lato"/>
                <a:ea typeface="Lato"/>
                <a:cs typeface="Lato"/>
                <a:sym typeface="Lato"/>
              </a:rPr>
              <a:t>87%</a:t>
            </a:r>
            <a:endParaRPr sz="2640" b="1" dirty="0">
              <a:solidFill>
                <a:srgbClr val="F36C21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38" name="Google Shape;2777;p42">
            <a:extLst>
              <a:ext uri="{FF2B5EF4-FFF2-40B4-BE49-F238E27FC236}">
                <a16:creationId xmlns:a16="http://schemas.microsoft.com/office/drawing/2014/main" id="{440EC952-9788-E826-13FB-BF65100FC233}"/>
              </a:ext>
            </a:extLst>
          </p:cNvPr>
          <p:cNvSpPr txBox="1"/>
          <p:nvPr/>
        </p:nvSpPr>
        <p:spPr>
          <a:xfrm>
            <a:off x="7482290" y="5321413"/>
            <a:ext cx="1744068" cy="787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5426" tIns="37703" rIns="75426" bIns="37703" anchor="t" anchorCtr="0">
            <a:spAutoFit/>
          </a:bodyPr>
          <a:lstStyle/>
          <a:p>
            <a:pPr algn="ctr"/>
            <a:r>
              <a:rPr lang="en-US" sz="1155" dirty="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Credential earners feel more engaged with IBM and are motivated to learn more</a:t>
            </a:r>
            <a:endParaRPr sz="1155" dirty="0">
              <a:solidFill>
                <a:schemeClr val="dk1"/>
              </a:solidFill>
              <a:latin typeface="Lato"/>
              <a:ea typeface="Lato"/>
              <a:cs typeface="Lato"/>
            </a:endParaRPr>
          </a:p>
        </p:txBody>
      </p:sp>
      <p:sp>
        <p:nvSpPr>
          <p:cNvPr id="39" name="Google Shape;2778;p42">
            <a:extLst>
              <a:ext uri="{FF2B5EF4-FFF2-40B4-BE49-F238E27FC236}">
                <a16:creationId xmlns:a16="http://schemas.microsoft.com/office/drawing/2014/main" id="{0DF3FBD4-67DA-114F-852E-DD25422D689C}"/>
              </a:ext>
            </a:extLst>
          </p:cNvPr>
          <p:cNvSpPr/>
          <p:nvPr/>
        </p:nvSpPr>
        <p:spPr>
          <a:xfrm>
            <a:off x="5942948" y="4845491"/>
            <a:ext cx="1397325" cy="4824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5426" tIns="37703" rIns="75426" bIns="37703" anchor="t" anchorCtr="0">
            <a:spAutoFit/>
          </a:bodyPr>
          <a:lstStyle/>
          <a:p>
            <a:r>
              <a:rPr lang="en-US" sz="2640" b="1" dirty="0">
                <a:solidFill>
                  <a:srgbClr val="F36C21"/>
                </a:solidFill>
                <a:latin typeface="Lato"/>
                <a:ea typeface="Lato"/>
                <a:cs typeface="Lato"/>
                <a:sym typeface="Lato"/>
              </a:rPr>
              <a:t>694%</a:t>
            </a:r>
            <a:endParaRPr sz="2640" b="1" dirty="0">
              <a:solidFill>
                <a:srgbClr val="F36C21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40" name="Google Shape;2779;p42">
            <a:extLst>
              <a:ext uri="{FF2B5EF4-FFF2-40B4-BE49-F238E27FC236}">
                <a16:creationId xmlns:a16="http://schemas.microsoft.com/office/drawing/2014/main" id="{DEB8D8C4-4097-516C-9ED1-D3D7A4163AF4}"/>
              </a:ext>
            </a:extLst>
          </p:cNvPr>
          <p:cNvSpPr txBox="1"/>
          <p:nvPr/>
        </p:nvSpPr>
        <p:spPr>
          <a:xfrm>
            <a:off x="5617401" y="5324056"/>
            <a:ext cx="1578989" cy="787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5426" tIns="37703" rIns="75426" bIns="37703" anchor="t" anchorCtr="0">
            <a:spAutoFit/>
          </a:bodyPr>
          <a:lstStyle/>
          <a:p>
            <a:pPr algn="ctr"/>
            <a:r>
              <a:rPr lang="en-US" sz="1155" dirty="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Course completions of IBM-credential online courses increased</a:t>
            </a:r>
            <a:endParaRPr sz="1155" dirty="0">
              <a:solidFill>
                <a:schemeClr val="dk1"/>
              </a:solidFill>
              <a:latin typeface="Lato"/>
              <a:ea typeface="Lato"/>
              <a:cs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18122264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16EEC9-7A20-CC87-4019-1679C72153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381000"/>
            <a:ext cx="8309826" cy="407804"/>
          </a:xfrm>
        </p:spPr>
        <p:txBody>
          <a:bodyPr/>
          <a:lstStyle/>
          <a:p>
            <a:r>
              <a:rPr lang="en-US" dirty="0"/>
              <a:t>Employer Views on Alternative Credential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DB69B7C-85CE-5A41-0073-69BFE218B1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50377"/>
            <a:ext cx="5165466" cy="38862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7538311-24BA-A5C3-C850-099FE5F340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20000" y="152400"/>
            <a:ext cx="2324216" cy="389339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EA0F50C-EB67-ECEC-78AB-5560AAD921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62400" y="3733800"/>
            <a:ext cx="6624600" cy="351807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189AA84-59F0-2B48-9C28-0729E3FA9704}"/>
              </a:ext>
            </a:extLst>
          </p:cNvPr>
          <p:cNvSpPr txBox="1"/>
          <p:nvPr/>
        </p:nvSpPr>
        <p:spPr>
          <a:xfrm>
            <a:off x="1066800" y="5671010"/>
            <a:ext cx="2590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… the tide is turning to skills-based signal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477F4A7-6E8F-3524-B2B3-037D3BE4A17B}"/>
              </a:ext>
            </a:extLst>
          </p:cNvPr>
          <p:cNvSpPr txBox="1"/>
          <p:nvPr/>
        </p:nvSpPr>
        <p:spPr>
          <a:xfrm>
            <a:off x="228600" y="7191345"/>
            <a:ext cx="4114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The Effect of Employer Understanding and Engagement on Non-Degree Credentials, UPCEA/</a:t>
            </a:r>
            <a:r>
              <a:rPr lang="en-US" sz="1000" dirty="0" err="1"/>
              <a:t>Collegis</a:t>
            </a:r>
            <a:r>
              <a:rPr lang="en-US" sz="1000" dirty="0"/>
              <a:t>, Feb 2023</a:t>
            </a:r>
          </a:p>
        </p:txBody>
      </p:sp>
    </p:spTree>
    <p:extLst>
      <p:ext uri="{BB962C8B-B14F-4D97-AF65-F5344CB8AC3E}">
        <p14:creationId xmlns:p14="http://schemas.microsoft.com/office/powerpoint/2010/main" val="20887693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0" name="Google Shape;800;p101"/>
          <p:cNvSpPr txBox="1">
            <a:spLocks noGrp="1"/>
          </p:cNvSpPr>
          <p:nvPr>
            <p:ph type="title"/>
          </p:nvPr>
        </p:nvSpPr>
        <p:spPr>
          <a:xfrm>
            <a:off x="342870" y="1364737"/>
            <a:ext cx="9372660" cy="6299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568" tIns="100568" rIns="100568" bIns="100568" anchor="t" anchorCtr="0">
            <a:noAutofit/>
          </a:bodyPr>
          <a:lstStyle/>
          <a:p>
            <a:pPr algn="l"/>
            <a:r>
              <a:rPr lang="en" sz="3080">
                <a:solidFill>
                  <a:schemeClr val="accent1"/>
                </a:solidFill>
              </a:rPr>
              <a:t>Credly believes in a network full of opportunity serving both earners and issuers</a:t>
            </a:r>
            <a:br>
              <a:rPr lang="en" sz="2200">
                <a:solidFill>
                  <a:schemeClr val="accent1"/>
                </a:solidFill>
              </a:rPr>
            </a:br>
            <a:r>
              <a:rPr lang="en" sz="3080"/>
              <a:t> </a:t>
            </a:r>
            <a:endParaRPr sz="3080"/>
          </a:p>
        </p:txBody>
      </p:sp>
      <p:sp>
        <p:nvSpPr>
          <p:cNvPr id="802" name="Google Shape;802;p101"/>
          <p:cNvSpPr/>
          <p:nvPr/>
        </p:nvSpPr>
        <p:spPr>
          <a:xfrm>
            <a:off x="-1180" y="2520125"/>
            <a:ext cx="10058400" cy="359898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00568" tIns="100568" rIns="100568" bIns="100568" anchor="ctr" anchorCtr="0">
            <a:noAutofit/>
          </a:bodyPr>
          <a:lstStyle/>
          <a:p>
            <a:pPr defTabSz="1005840">
              <a:buClr>
                <a:srgbClr val="000000"/>
              </a:buClr>
              <a:buSzPts val="1400"/>
              <a:defRPr/>
            </a:pPr>
            <a:endParaRPr sz="1540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03" name="Google Shape;803;p101"/>
          <p:cNvSpPr txBox="1"/>
          <p:nvPr/>
        </p:nvSpPr>
        <p:spPr>
          <a:xfrm>
            <a:off x="4208509" y="5678203"/>
            <a:ext cx="1846350" cy="22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5880" tIns="55880" rIns="55880" bIns="55880" anchor="t" anchorCtr="0">
            <a:noAutofit/>
          </a:bodyPr>
          <a:lstStyle/>
          <a:p>
            <a:pPr defTabSz="1005840">
              <a:buClr>
                <a:srgbClr val="000000"/>
              </a:buClr>
              <a:buSzPts val="1800"/>
              <a:defRPr/>
            </a:pPr>
            <a:r>
              <a:rPr lang="en" sz="1980" b="1" kern="0">
                <a:solidFill>
                  <a:srgbClr val="005850"/>
                </a:solidFill>
                <a:latin typeface="Proxima Nova"/>
                <a:ea typeface="Proxima Nova"/>
                <a:cs typeface="Proxima Nova"/>
                <a:sym typeface="Proxima Nova"/>
              </a:rPr>
              <a:t>Corporations</a:t>
            </a:r>
            <a:endParaRPr sz="1980" b="1" kern="0">
              <a:solidFill>
                <a:srgbClr val="005850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804" name="Google Shape;804;p101"/>
          <p:cNvSpPr txBox="1"/>
          <p:nvPr/>
        </p:nvSpPr>
        <p:spPr>
          <a:xfrm>
            <a:off x="949107" y="5708556"/>
            <a:ext cx="1723590" cy="22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5880" tIns="55880" rIns="55880" bIns="55880" anchor="t" anchorCtr="0">
            <a:noAutofit/>
          </a:bodyPr>
          <a:lstStyle/>
          <a:p>
            <a:pPr defTabSz="1005840">
              <a:buClr>
                <a:srgbClr val="000000"/>
              </a:buClr>
              <a:buSzPts val="1800"/>
              <a:defRPr/>
            </a:pPr>
            <a:r>
              <a:rPr lang="en" sz="1980" b="1" kern="0">
                <a:solidFill>
                  <a:srgbClr val="005850"/>
                </a:solidFill>
                <a:latin typeface="Proxima Nova"/>
                <a:ea typeface="Proxima Nova"/>
                <a:cs typeface="Proxima Nova"/>
                <a:sym typeface="Proxima Nova"/>
              </a:rPr>
              <a:t>Associations</a:t>
            </a:r>
            <a:endParaRPr sz="1980" b="1" kern="0">
              <a:solidFill>
                <a:srgbClr val="005850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805" name="Google Shape;805;p101"/>
          <p:cNvSpPr txBox="1"/>
          <p:nvPr/>
        </p:nvSpPr>
        <p:spPr>
          <a:xfrm>
            <a:off x="7114873" y="5708556"/>
            <a:ext cx="2652436" cy="6088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5880" tIns="55880" rIns="55880" bIns="55880" anchor="t" anchorCtr="0">
            <a:noAutofit/>
          </a:bodyPr>
          <a:lstStyle/>
          <a:p>
            <a:pPr defTabSz="1005840">
              <a:buClr>
                <a:srgbClr val="000000"/>
              </a:buClr>
              <a:buSzPts val="1800"/>
              <a:defRPr/>
            </a:pPr>
            <a:r>
              <a:rPr lang="en" sz="1980" b="1" kern="0">
                <a:solidFill>
                  <a:srgbClr val="005850"/>
                </a:solidFill>
                <a:latin typeface="Proxima Nova"/>
                <a:ea typeface="Proxima Nova"/>
                <a:cs typeface="Proxima Nova"/>
                <a:sym typeface="Proxima Nova"/>
              </a:rPr>
              <a:t>Training &amp; Education</a:t>
            </a:r>
            <a:endParaRPr sz="1980" b="1" kern="0">
              <a:solidFill>
                <a:srgbClr val="005850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grpSp>
        <p:nvGrpSpPr>
          <p:cNvPr id="806" name="Google Shape;806;p101"/>
          <p:cNvGrpSpPr/>
          <p:nvPr/>
        </p:nvGrpSpPr>
        <p:grpSpPr>
          <a:xfrm>
            <a:off x="3565198" y="2816995"/>
            <a:ext cx="2851913" cy="2807123"/>
            <a:chOff x="4148839" y="2187890"/>
            <a:chExt cx="3707490" cy="3649264"/>
          </a:xfrm>
        </p:grpSpPr>
        <p:pic>
          <p:nvPicPr>
            <p:cNvPr id="807" name="Google Shape;807;p101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4400474" y="5107196"/>
              <a:ext cx="729958" cy="72995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08" name="Google Shape;808;p101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4258552" y="2187890"/>
              <a:ext cx="1192012" cy="58040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09" name="Google Shape;809;p101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6977358" y="3726975"/>
              <a:ext cx="840788" cy="41432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10" name="Google Shape;810;p101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5694446" y="2245890"/>
              <a:ext cx="908459" cy="46440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11" name="Google Shape;811;p101"/>
            <p:cNvPicPr preferRelativeResize="0"/>
            <p:nvPr/>
          </p:nvPicPr>
          <p:blipFill rotWithShape="1">
            <a:blip r:embed="rId7">
              <a:alphaModFix/>
            </a:blip>
            <a:srcRect t="25195" b="23144"/>
            <a:stretch/>
          </p:blipFill>
          <p:spPr>
            <a:xfrm>
              <a:off x="6963558" y="4443391"/>
              <a:ext cx="892771" cy="46122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12" name="Google Shape;812;p101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4148839" y="3643104"/>
              <a:ext cx="1362670" cy="58206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13" name="Google Shape;813;p101"/>
            <p:cNvPicPr preferRelativeResize="0"/>
            <p:nvPr/>
          </p:nvPicPr>
          <p:blipFill rotWithShape="1">
            <a:blip r:embed="rId9">
              <a:alphaModFix/>
            </a:blip>
            <a:srcRect t="14318" b="11607"/>
            <a:stretch/>
          </p:blipFill>
          <p:spPr>
            <a:xfrm>
              <a:off x="4406823" y="4360426"/>
              <a:ext cx="846700" cy="62715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14" name="Google Shape;814;p101"/>
            <p:cNvPicPr preferRelativeResize="0"/>
            <p:nvPr/>
          </p:nvPicPr>
          <p:blipFill rotWithShape="1">
            <a:blip r:embed="rId10">
              <a:alphaModFix/>
            </a:blip>
            <a:srcRect t="29918" b="26620"/>
            <a:stretch/>
          </p:blipFill>
          <p:spPr>
            <a:xfrm>
              <a:off x="6951312" y="5286562"/>
              <a:ext cx="868495" cy="37122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15" name="Google Shape;815;p101"/>
            <p:cNvPicPr preferRelativeResize="0"/>
            <p:nvPr/>
          </p:nvPicPr>
          <p:blipFill rotWithShape="1">
            <a:blip r:embed="rId11">
              <a:alphaModFix/>
            </a:blip>
            <a:srcRect/>
            <a:stretch/>
          </p:blipFill>
          <p:spPr>
            <a:xfrm>
              <a:off x="5732443" y="3826934"/>
              <a:ext cx="861472" cy="214411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16" name="Google Shape;816;p101"/>
            <p:cNvPicPr preferRelativeResize="0"/>
            <p:nvPr/>
          </p:nvPicPr>
          <p:blipFill rotWithShape="1">
            <a:blip r:embed="rId12">
              <a:alphaModFix/>
            </a:blip>
            <a:srcRect/>
            <a:stretch/>
          </p:blipFill>
          <p:spPr>
            <a:xfrm>
              <a:off x="5397226" y="5303594"/>
              <a:ext cx="1385600" cy="337164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817" name="Google Shape;817;p101"/>
          <p:cNvPicPr preferRelativeResize="0"/>
          <p:nvPr/>
        </p:nvPicPr>
        <p:blipFill rotWithShape="1">
          <a:blip r:embed="rId13">
            <a:alphaModFix/>
          </a:blip>
          <a:srcRect t="18253" b="21506"/>
          <a:stretch/>
        </p:blipFill>
        <p:spPr>
          <a:xfrm>
            <a:off x="2538404" y="2835283"/>
            <a:ext cx="581398" cy="350233"/>
          </a:xfrm>
          <a:prstGeom prst="rect">
            <a:avLst/>
          </a:prstGeom>
          <a:noFill/>
          <a:ln>
            <a:noFill/>
          </a:ln>
        </p:spPr>
      </p:pic>
      <p:pic>
        <p:nvPicPr>
          <p:cNvPr id="818" name="Google Shape;818;p101"/>
          <p:cNvPicPr preferRelativeResize="0"/>
          <p:nvPr/>
        </p:nvPicPr>
        <p:blipFill rotWithShape="1">
          <a:blip r:embed="rId14">
            <a:alphaModFix/>
          </a:blip>
          <a:srcRect t="20354" b="24320"/>
          <a:stretch/>
        </p:blipFill>
        <p:spPr>
          <a:xfrm>
            <a:off x="408464" y="5117446"/>
            <a:ext cx="783363" cy="433357"/>
          </a:xfrm>
          <a:prstGeom prst="rect">
            <a:avLst/>
          </a:prstGeom>
          <a:noFill/>
          <a:ln>
            <a:noFill/>
          </a:ln>
        </p:spPr>
      </p:pic>
      <p:pic>
        <p:nvPicPr>
          <p:cNvPr id="819" name="Google Shape;819;p101"/>
          <p:cNvPicPr preferRelativeResize="0"/>
          <p:nvPr/>
        </p:nvPicPr>
        <p:blipFill rotWithShape="1">
          <a:blip r:embed="rId15">
            <a:alphaModFix/>
          </a:blip>
          <a:srcRect t="21285" b="21662"/>
          <a:stretch/>
        </p:blipFill>
        <p:spPr>
          <a:xfrm>
            <a:off x="1484461" y="2789656"/>
            <a:ext cx="773883" cy="441487"/>
          </a:xfrm>
          <a:prstGeom prst="rect">
            <a:avLst/>
          </a:prstGeom>
          <a:noFill/>
          <a:ln>
            <a:noFill/>
          </a:ln>
        </p:spPr>
      </p:pic>
      <p:pic>
        <p:nvPicPr>
          <p:cNvPr id="820" name="Google Shape;820;p101"/>
          <p:cNvPicPr preferRelativeResize="0"/>
          <p:nvPr/>
        </p:nvPicPr>
        <p:blipFill rotWithShape="1">
          <a:blip r:embed="rId16">
            <a:alphaModFix/>
          </a:blip>
          <a:srcRect/>
          <a:stretch/>
        </p:blipFill>
        <p:spPr>
          <a:xfrm>
            <a:off x="1283066" y="3922462"/>
            <a:ext cx="989208" cy="318605"/>
          </a:xfrm>
          <a:prstGeom prst="rect">
            <a:avLst/>
          </a:prstGeom>
          <a:noFill/>
          <a:ln>
            <a:noFill/>
          </a:ln>
        </p:spPr>
      </p:pic>
      <p:pic>
        <p:nvPicPr>
          <p:cNvPr id="821" name="Google Shape;821;p101"/>
          <p:cNvPicPr preferRelativeResize="0"/>
          <p:nvPr/>
        </p:nvPicPr>
        <p:blipFill rotWithShape="1">
          <a:blip r:embed="rId17">
            <a:alphaModFix/>
          </a:blip>
          <a:srcRect/>
          <a:stretch/>
        </p:blipFill>
        <p:spPr>
          <a:xfrm>
            <a:off x="2525129" y="3379266"/>
            <a:ext cx="574803" cy="381461"/>
          </a:xfrm>
          <a:prstGeom prst="rect">
            <a:avLst/>
          </a:prstGeom>
          <a:noFill/>
          <a:ln>
            <a:noFill/>
          </a:ln>
        </p:spPr>
      </p:pic>
      <p:pic>
        <p:nvPicPr>
          <p:cNvPr id="822" name="Google Shape;822;p101"/>
          <p:cNvPicPr preferRelativeResize="0"/>
          <p:nvPr/>
        </p:nvPicPr>
        <p:blipFill rotWithShape="1">
          <a:blip r:embed="rId18">
            <a:alphaModFix/>
          </a:blip>
          <a:srcRect/>
          <a:stretch/>
        </p:blipFill>
        <p:spPr>
          <a:xfrm>
            <a:off x="1586350" y="5174742"/>
            <a:ext cx="514131" cy="318762"/>
          </a:xfrm>
          <a:prstGeom prst="rect">
            <a:avLst/>
          </a:prstGeom>
          <a:noFill/>
          <a:ln>
            <a:noFill/>
          </a:ln>
        </p:spPr>
      </p:pic>
      <p:pic>
        <p:nvPicPr>
          <p:cNvPr id="823" name="Google Shape;823;p101"/>
          <p:cNvPicPr preferRelativeResize="0"/>
          <p:nvPr/>
        </p:nvPicPr>
        <p:blipFill rotWithShape="1">
          <a:blip r:embed="rId19">
            <a:alphaModFix/>
          </a:blip>
          <a:srcRect t="28085" b="25971"/>
          <a:stretch/>
        </p:blipFill>
        <p:spPr>
          <a:xfrm>
            <a:off x="421270" y="2813459"/>
            <a:ext cx="857332" cy="393883"/>
          </a:xfrm>
          <a:prstGeom prst="rect">
            <a:avLst/>
          </a:prstGeom>
          <a:noFill/>
          <a:ln>
            <a:noFill/>
          </a:ln>
        </p:spPr>
      </p:pic>
      <p:pic>
        <p:nvPicPr>
          <p:cNvPr id="824" name="Google Shape;824;p101"/>
          <p:cNvPicPr preferRelativeResize="0"/>
          <p:nvPr/>
        </p:nvPicPr>
        <p:blipFill rotWithShape="1">
          <a:blip r:embed="rId20">
            <a:alphaModFix/>
          </a:blip>
          <a:srcRect/>
          <a:stretch/>
        </p:blipFill>
        <p:spPr>
          <a:xfrm>
            <a:off x="543653" y="3353742"/>
            <a:ext cx="575359" cy="324364"/>
          </a:xfrm>
          <a:prstGeom prst="rect">
            <a:avLst/>
          </a:prstGeom>
          <a:noFill/>
          <a:ln>
            <a:noFill/>
          </a:ln>
        </p:spPr>
      </p:pic>
      <p:pic>
        <p:nvPicPr>
          <p:cNvPr id="825" name="Google Shape;825;p101"/>
          <p:cNvPicPr preferRelativeResize="0"/>
          <p:nvPr/>
        </p:nvPicPr>
        <p:blipFill rotWithShape="1">
          <a:blip r:embed="rId21">
            <a:alphaModFix/>
          </a:blip>
          <a:srcRect/>
          <a:stretch/>
        </p:blipFill>
        <p:spPr>
          <a:xfrm>
            <a:off x="2604003" y="5071898"/>
            <a:ext cx="420683" cy="524451"/>
          </a:xfrm>
          <a:prstGeom prst="rect">
            <a:avLst/>
          </a:prstGeom>
          <a:noFill/>
          <a:ln>
            <a:noFill/>
          </a:ln>
        </p:spPr>
      </p:pic>
      <p:pic>
        <p:nvPicPr>
          <p:cNvPr id="826" name="Google Shape;826;p101"/>
          <p:cNvPicPr preferRelativeResize="0"/>
          <p:nvPr/>
        </p:nvPicPr>
        <p:blipFill rotWithShape="1">
          <a:blip r:embed="rId22">
            <a:alphaModFix/>
          </a:blip>
          <a:srcRect/>
          <a:stretch/>
        </p:blipFill>
        <p:spPr>
          <a:xfrm>
            <a:off x="2467061" y="3983739"/>
            <a:ext cx="726121" cy="19605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27" name="Google Shape;827;p101"/>
          <p:cNvGrpSpPr/>
          <p:nvPr/>
        </p:nvGrpSpPr>
        <p:grpSpPr>
          <a:xfrm>
            <a:off x="3420437" y="2781872"/>
            <a:ext cx="3238235" cy="3188994"/>
            <a:chOff x="3981896" y="2078566"/>
            <a:chExt cx="4209709" cy="3453759"/>
          </a:xfrm>
        </p:grpSpPr>
        <p:cxnSp>
          <p:nvCxnSpPr>
            <p:cNvPr id="828" name="Google Shape;828;p101"/>
            <p:cNvCxnSpPr/>
            <p:nvPr/>
          </p:nvCxnSpPr>
          <p:spPr>
            <a:xfrm>
              <a:off x="8191605" y="2078566"/>
              <a:ext cx="0" cy="3442500"/>
            </a:xfrm>
            <a:prstGeom prst="straightConnector1">
              <a:avLst/>
            </a:prstGeom>
            <a:noFill/>
            <a:ln w="9525" cap="flat" cmpd="sng">
              <a:solidFill>
                <a:srgbClr val="AFC8D8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29" name="Google Shape;829;p101"/>
            <p:cNvCxnSpPr/>
            <p:nvPr/>
          </p:nvCxnSpPr>
          <p:spPr>
            <a:xfrm>
              <a:off x="3981896" y="2089825"/>
              <a:ext cx="0" cy="3442500"/>
            </a:xfrm>
            <a:prstGeom prst="straightConnector1">
              <a:avLst/>
            </a:prstGeom>
            <a:noFill/>
            <a:ln w="9525" cap="flat" cmpd="sng">
              <a:solidFill>
                <a:srgbClr val="AFC8D8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pic>
        <p:nvPicPr>
          <p:cNvPr id="830" name="Google Shape;830;p101"/>
          <p:cNvPicPr preferRelativeResize="0"/>
          <p:nvPr/>
        </p:nvPicPr>
        <p:blipFill rotWithShape="1">
          <a:blip r:embed="rId23">
            <a:alphaModFix/>
          </a:blip>
          <a:srcRect/>
          <a:stretch/>
        </p:blipFill>
        <p:spPr>
          <a:xfrm>
            <a:off x="8861412" y="5154003"/>
            <a:ext cx="591598" cy="325807"/>
          </a:xfrm>
          <a:prstGeom prst="rect">
            <a:avLst/>
          </a:prstGeom>
          <a:noFill/>
          <a:ln>
            <a:noFill/>
          </a:ln>
        </p:spPr>
      </p:pic>
      <p:pic>
        <p:nvPicPr>
          <p:cNvPr id="831" name="Google Shape;831;p101"/>
          <p:cNvPicPr preferRelativeResize="0"/>
          <p:nvPr/>
        </p:nvPicPr>
        <p:blipFill rotWithShape="1">
          <a:blip r:embed="rId24">
            <a:alphaModFix/>
          </a:blip>
          <a:srcRect/>
          <a:stretch/>
        </p:blipFill>
        <p:spPr>
          <a:xfrm>
            <a:off x="6921947" y="3943796"/>
            <a:ext cx="635292" cy="421175"/>
          </a:xfrm>
          <a:prstGeom prst="rect">
            <a:avLst/>
          </a:prstGeom>
          <a:noFill/>
          <a:ln>
            <a:noFill/>
          </a:ln>
        </p:spPr>
      </p:pic>
      <p:pic>
        <p:nvPicPr>
          <p:cNvPr id="832" name="Google Shape;832;p101"/>
          <p:cNvPicPr preferRelativeResize="0"/>
          <p:nvPr/>
        </p:nvPicPr>
        <p:blipFill rotWithShape="1">
          <a:blip r:embed="rId25">
            <a:alphaModFix/>
          </a:blip>
          <a:srcRect/>
          <a:stretch/>
        </p:blipFill>
        <p:spPr>
          <a:xfrm>
            <a:off x="7697305" y="4532423"/>
            <a:ext cx="1025915" cy="317582"/>
          </a:xfrm>
          <a:prstGeom prst="rect">
            <a:avLst/>
          </a:prstGeom>
          <a:noFill/>
          <a:ln>
            <a:noFill/>
          </a:ln>
        </p:spPr>
      </p:pic>
      <p:pic>
        <p:nvPicPr>
          <p:cNvPr id="833" name="Google Shape;833;p101"/>
          <p:cNvPicPr preferRelativeResize="0"/>
          <p:nvPr/>
        </p:nvPicPr>
        <p:blipFill rotWithShape="1">
          <a:blip r:embed="rId26">
            <a:alphaModFix/>
          </a:blip>
          <a:srcRect/>
          <a:stretch/>
        </p:blipFill>
        <p:spPr>
          <a:xfrm>
            <a:off x="6886981" y="2890947"/>
            <a:ext cx="773539" cy="350670"/>
          </a:xfrm>
          <a:prstGeom prst="rect">
            <a:avLst/>
          </a:prstGeom>
          <a:noFill/>
          <a:ln>
            <a:noFill/>
          </a:ln>
        </p:spPr>
      </p:pic>
      <p:pic>
        <p:nvPicPr>
          <p:cNvPr id="834" name="Google Shape;834;p101"/>
          <p:cNvPicPr preferRelativeResize="0"/>
          <p:nvPr/>
        </p:nvPicPr>
        <p:blipFill rotWithShape="1">
          <a:blip r:embed="rId27">
            <a:alphaModFix/>
          </a:blip>
          <a:srcRect t="21023" b="15347"/>
          <a:stretch/>
        </p:blipFill>
        <p:spPr>
          <a:xfrm>
            <a:off x="7856567" y="2846498"/>
            <a:ext cx="753503" cy="479411"/>
          </a:xfrm>
          <a:prstGeom prst="rect">
            <a:avLst/>
          </a:prstGeom>
          <a:noFill/>
          <a:ln>
            <a:noFill/>
          </a:ln>
        </p:spPr>
      </p:pic>
      <p:pic>
        <p:nvPicPr>
          <p:cNvPr id="835" name="Google Shape;835;p101"/>
          <p:cNvPicPr preferRelativeResize="0"/>
          <p:nvPr/>
        </p:nvPicPr>
        <p:blipFill rotWithShape="1">
          <a:blip r:embed="rId28">
            <a:alphaModFix/>
          </a:blip>
          <a:srcRect/>
          <a:stretch/>
        </p:blipFill>
        <p:spPr>
          <a:xfrm>
            <a:off x="7919595" y="3388688"/>
            <a:ext cx="481880" cy="481879"/>
          </a:xfrm>
          <a:prstGeom prst="rect">
            <a:avLst/>
          </a:prstGeom>
          <a:noFill/>
          <a:ln>
            <a:noFill/>
          </a:ln>
        </p:spPr>
      </p:pic>
      <p:pic>
        <p:nvPicPr>
          <p:cNvPr id="836" name="Google Shape;836;p101"/>
          <p:cNvPicPr preferRelativeResize="0"/>
          <p:nvPr/>
        </p:nvPicPr>
        <p:blipFill rotWithShape="1">
          <a:blip r:embed="rId29">
            <a:alphaModFix/>
          </a:blip>
          <a:srcRect/>
          <a:stretch/>
        </p:blipFill>
        <p:spPr>
          <a:xfrm>
            <a:off x="6822119" y="5078959"/>
            <a:ext cx="944873" cy="466137"/>
          </a:xfrm>
          <a:prstGeom prst="rect">
            <a:avLst/>
          </a:prstGeom>
          <a:noFill/>
          <a:ln>
            <a:noFill/>
          </a:ln>
        </p:spPr>
      </p:pic>
      <p:pic>
        <p:nvPicPr>
          <p:cNvPr id="837" name="Google Shape;837;p101"/>
          <p:cNvPicPr preferRelativeResize="0"/>
          <p:nvPr/>
        </p:nvPicPr>
        <p:blipFill rotWithShape="1">
          <a:blip r:embed="rId30">
            <a:alphaModFix/>
          </a:blip>
          <a:srcRect/>
          <a:stretch/>
        </p:blipFill>
        <p:spPr>
          <a:xfrm>
            <a:off x="8784271" y="4072438"/>
            <a:ext cx="697300" cy="180664"/>
          </a:xfrm>
          <a:prstGeom prst="rect">
            <a:avLst/>
          </a:prstGeom>
          <a:noFill/>
          <a:ln>
            <a:noFill/>
          </a:ln>
        </p:spPr>
      </p:pic>
      <p:pic>
        <p:nvPicPr>
          <p:cNvPr id="838" name="Google Shape;838;p101"/>
          <p:cNvPicPr preferRelativeResize="0"/>
          <p:nvPr/>
        </p:nvPicPr>
        <p:blipFill rotWithShape="1">
          <a:blip r:embed="rId31">
            <a:alphaModFix/>
          </a:blip>
          <a:srcRect/>
          <a:stretch/>
        </p:blipFill>
        <p:spPr>
          <a:xfrm>
            <a:off x="8707483" y="3516624"/>
            <a:ext cx="731239" cy="239147"/>
          </a:xfrm>
          <a:prstGeom prst="rect">
            <a:avLst/>
          </a:prstGeom>
          <a:noFill/>
          <a:ln>
            <a:noFill/>
          </a:ln>
        </p:spPr>
      </p:pic>
      <p:pic>
        <p:nvPicPr>
          <p:cNvPr id="839" name="Google Shape;839;p101"/>
          <p:cNvPicPr preferRelativeResize="0"/>
          <p:nvPr/>
        </p:nvPicPr>
        <p:blipFill rotWithShape="1">
          <a:blip r:embed="rId32">
            <a:alphaModFix/>
          </a:blip>
          <a:srcRect/>
          <a:stretch/>
        </p:blipFill>
        <p:spPr>
          <a:xfrm>
            <a:off x="1371264" y="3359822"/>
            <a:ext cx="857339" cy="315652"/>
          </a:xfrm>
          <a:prstGeom prst="rect">
            <a:avLst/>
          </a:prstGeom>
          <a:noFill/>
          <a:ln>
            <a:noFill/>
          </a:ln>
        </p:spPr>
      </p:pic>
      <p:pic>
        <p:nvPicPr>
          <p:cNvPr id="840" name="Google Shape;840;p101"/>
          <p:cNvPicPr preferRelativeResize="0"/>
          <p:nvPr/>
        </p:nvPicPr>
        <p:blipFill rotWithShape="1">
          <a:blip r:embed="rId33">
            <a:alphaModFix/>
          </a:blip>
          <a:srcRect l="22441" t="18169" r="23089" b="17285"/>
          <a:stretch/>
        </p:blipFill>
        <p:spPr>
          <a:xfrm>
            <a:off x="4793453" y="4604614"/>
            <a:ext cx="570220" cy="354780"/>
          </a:xfrm>
          <a:prstGeom prst="rect">
            <a:avLst/>
          </a:prstGeom>
          <a:noFill/>
          <a:ln>
            <a:noFill/>
          </a:ln>
        </p:spPr>
      </p:pic>
      <p:pic>
        <p:nvPicPr>
          <p:cNvPr id="841" name="Google Shape;841;p101"/>
          <p:cNvPicPr preferRelativeResize="0"/>
          <p:nvPr/>
        </p:nvPicPr>
        <p:blipFill rotWithShape="1">
          <a:blip r:embed="rId34">
            <a:alphaModFix/>
          </a:blip>
          <a:srcRect l="9683" t="17252" r="5520" b="14395"/>
          <a:stretch/>
        </p:blipFill>
        <p:spPr>
          <a:xfrm>
            <a:off x="7797169" y="5071900"/>
            <a:ext cx="944852" cy="431599"/>
          </a:xfrm>
          <a:prstGeom prst="rect">
            <a:avLst/>
          </a:prstGeom>
          <a:noFill/>
          <a:ln>
            <a:noFill/>
          </a:ln>
        </p:spPr>
      </p:pic>
      <p:pic>
        <p:nvPicPr>
          <p:cNvPr id="842" name="Google Shape;842;p101"/>
          <p:cNvPicPr preferRelativeResize="0"/>
          <p:nvPr/>
        </p:nvPicPr>
        <p:blipFill rotWithShape="1">
          <a:blip r:embed="rId35">
            <a:alphaModFix/>
          </a:blip>
          <a:srcRect/>
          <a:stretch/>
        </p:blipFill>
        <p:spPr>
          <a:xfrm>
            <a:off x="6677267" y="3363861"/>
            <a:ext cx="1234559" cy="512593"/>
          </a:xfrm>
          <a:prstGeom prst="rect">
            <a:avLst/>
          </a:prstGeom>
          <a:noFill/>
          <a:ln>
            <a:noFill/>
          </a:ln>
        </p:spPr>
      </p:pic>
      <p:pic>
        <p:nvPicPr>
          <p:cNvPr id="843" name="Google Shape;843;p101"/>
          <p:cNvPicPr preferRelativeResize="0"/>
          <p:nvPr/>
        </p:nvPicPr>
        <p:blipFill rotWithShape="1">
          <a:blip r:embed="rId36">
            <a:alphaModFix/>
          </a:blip>
          <a:srcRect/>
          <a:stretch/>
        </p:blipFill>
        <p:spPr>
          <a:xfrm>
            <a:off x="6929455" y="4501681"/>
            <a:ext cx="563625" cy="385458"/>
          </a:xfrm>
          <a:prstGeom prst="rect">
            <a:avLst/>
          </a:prstGeom>
          <a:noFill/>
          <a:ln>
            <a:noFill/>
          </a:ln>
        </p:spPr>
      </p:pic>
      <p:pic>
        <p:nvPicPr>
          <p:cNvPr id="844" name="Google Shape;844;p101"/>
          <p:cNvPicPr preferRelativeResize="0"/>
          <p:nvPr/>
        </p:nvPicPr>
        <p:blipFill rotWithShape="1">
          <a:blip r:embed="rId37">
            <a:alphaModFix/>
          </a:blip>
          <a:srcRect/>
          <a:stretch/>
        </p:blipFill>
        <p:spPr>
          <a:xfrm>
            <a:off x="608355" y="4520685"/>
            <a:ext cx="429418" cy="438005"/>
          </a:xfrm>
          <a:prstGeom prst="rect">
            <a:avLst/>
          </a:prstGeom>
          <a:noFill/>
          <a:ln>
            <a:noFill/>
          </a:ln>
        </p:spPr>
      </p:pic>
      <p:pic>
        <p:nvPicPr>
          <p:cNvPr id="845" name="Google Shape;845;p101"/>
          <p:cNvPicPr preferRelativeResize="0"/>
          <p:nvPr/>
        </p:nvPicPr>
        <p:blipFill rotWithShape="1">
          <a:blip r:embed="rId38">
            <a:alphaModFix/>
          </a:blip>
          <a:srcRect/>
          <a:stretch/>
        </p:blipFill>
        <p:spPr>
          <a:xfrm>
            <a:off x="1293574" y="4226313"/>
            <a:ext cx="987210" cy="987212"/>
          </a:xfrm>
          <a:prstGeom prst="rect">
            <a:avLst/>
          </a:prstGeom>
          <a:noFill/>
          <a:ln>
            <a:noFill/>
          </a:ln>
        </p:spPr>
      </p:pic>
      <p:pic>
        <p:nvPicPr>
          <p:cNvPr id="846" name="Google Shape;846;p101"/>
          <p:cNvPicPr preferRelativeResize="0"/>
          <p:nvPr/>
        </p:nvPicPr>
        <p:blipFill rotWithShape="1">
          <a:blip r:embed="rId39">
            <a:alphaModFix/>
          </a:blip>
          <a:srcRect t="35807" b="37836"/>
          <a:stretch/>
        </p:blipFill>
        <p:spPr>
          <a:xfrm>
            <a:off x="2286791" y="4578508"/>
            <a:ext cx="1025929" cy="270381"/>
          </a:xfrm>
          <a:prstGeom prst="rect">
            <a:avLst/>
          </a:prstGeom>
          <a:noFill/>
          <a:ln>
            <a:noFill/>
          </a:ln>
        </p:spPr>
      </p:pic>
      <p:pic>
        <p:nvPicPr>
          <p:cNvPr id="847" name="Google Shape;847;p101"/>
          <p:cNvPicPr preferRelativeResize="0"/>
          <p:nvPr/>
        </p:nvPicPr>
        <p:blipFill rotWithShape="1">
          <a:blip r:embed="rId40">
            <a:alphaModFix/>
          </a:blip>
          <a:srcRect t="30534" b="34609"/>
          <a:stretch/>
        </p:blipFill>
        <p:spPr>
          <a:xfrm>
            <a:off x="7820680" y="4090920"/>
            <a:ext cx="742169" cy="143714"/>
          </a:xfrm>
          <a:prstGeom prst="rect">
            <a:avLst/>
          </a:prstGeom>
          <a:noFill/>
          <a:ln>
            <a:noFill/>
          </a:ln>
        </p:spPr>
      </p:pic>
      <p:pic>
        <p:nvPicPr>
          <p:cNvPr id="848" name="Google Shape;848;p101"/>
          <p:cNvPicPr preferRelativeResize="0"/>
          <p:nvPr/>
        </p:nvPicPr>
        <p:blipFill rotWithShape="1">
          <a:blip r:embed="rId41">
            <a:alphaModFix/>
          </a:blip>
          <a:srcRect/>
          <a:stretch/>
        </p:blipFill>
        <p:spPr>
          <a:xfrm>
            <a:off x="554986" y="3882447"/>
            <a:ext cx="591583" cy="320036"/>
          </a:xfrm>
          <a:prstGeom prst="rect">
            <a:avLst/>
          </a:prstGeom>
          <a:noFill/>
          <a:ln>
            <a:noFill/>
          </a:ln>
        </p:spPr>
      </p:pic>
      <p:pic>
        <p:nvPicPr>
          <p:cNvPr id="849" name="Google Shape;849;p101"/>
          <p:cNvPicPr preferRelativeResize="0"/>
          <p:nvPr/>
        </p:nvPicPr>
        <p:blipFill rotWithShape="1">
          <a:blip r:embed="rId42">
            <a:alphaModFix/>
          </a:blip>
          <a:srcRect/>
          <a:stretch/>
        </p:blipFill>
        <p:spPr>
          <a:xfrm>
            <a:off x="5863199" y="3403551"/>
            <a:ext cx="448262" cy="448259"/>
          </a:xfrm>
          <a:prstGeom prst="rect">
            <a:avLst/>
          </a:prstGeom>
          <a:noFill/>
          <a:ln>
            <a:noFill/>
          </a:ln>
        </p:spPr>
      </p:pic>
      <p:pic>
        <p:nvPicPr>
          <p:cNvPr id="850" name="Google Shape;850;p101"/>
          <p:cNvPicPr preferRelativeResize="0"/>
          <p:nvPr/>
        </p:nvPicPr>
        <p:blipFill rotWithShape="1">
          <a:blip r:embed="rId43">
            <a:alphaModFix/>
          </a:blip>
          <a:srcRect/>
          <a:stretch/>
        </p:blipFill>
        <p:spPr>
          <a:xfrm>
            <a:off x="4820643" y="3434250"/>
            <a:ext cx="563639" cy="371819"/>
          </a:xfrm>
          <a:prstGeom prst="rect">
            <a:avLst/>
          </a:prstGeom>
          <a:noFill/>
          <a:ln>
            <a:noFill/>
          </a:ln>
        </p:spPr>
      </p:pic>
      <p:pic>
        <p:nvPicPr>
          <p:cNvPr id="851" name="Google Shape;851;p101"/>
          <p:cNvPicPr preferRelativeResize="0"/>
          <p:nvPr/>
        </p:nvPicPr>
        <p:blipFill rotWithShape="1">
          <a:blip r:embed="rId44">
            <a:alphaModFix/>
          </a:blip>
          <a:srcRect/>
          <a:stretch/>
        </p:blipFill>
        <p:spPr>
          <a:xfrm>
            <a:off x="3778461" y="3518683"/>
            <a:ext cx="591608" cy="235022"/>
          </a:xfrm>
          <a:prstGeom prst="rect">
            <a:avLst/>
          </a:prstGeom>
          <a:noFill/>
          <a:ln>
            <a:noFill/>
          </a:ln>
        </p:spPr>
      </p:pic>
      <p:pic>
        <p:nvPicPr>
          <p:cNvPr id="852" name="Google Shape;852;p101"/>
          <p:cNvPicPr preferRelativeResize="0"/>
          <p:nvPr/>
        </p:nvPicPr>
        <p:blipFill rotWithShape="1">
          <a:blip r:embed="rId45">
            <a:alphaModFix/>
          </a:blip>
          <a:srcRect/>
          <a:stretch/>
        </p:blipFill>
        <p:spPr>
          <a:xfrm>
            <a:off x="5817870" y="2804078"/>
            <a:ext cx="514140" cy="514161"/>
          </a:xfrm>
          <a:prstGeom prst="rect">
            <a:avLst/>
          </a:prstGeom>
          <a:noFill/>
          <a:ln>
            <a:noFill/>
          </a:ln>
        </p:spPr>
      </p:pic>
      <p:pic>
        <p:nvPicPr>
          <p:cNvPr id="853" name="Google Shape;853;p101"/>
          <p:cNvPicPr preferRelativeResize="0"/>
          <p:nvPr/>
        </p:nvPicPr>
        <p:blipFill rotWithShape="1">
          <a:blip r:embed="rId46">
            <a:alphaModFix/>
          </a:blip>
          <a:srcRect/>
          <a:stretch/>
        </p:blipFill>
        <p:spPr>
          <a:xfrm>
            <a:off x="8623672" y="2824235"/>
            <a:ext cx="1063070" cy="524453"/>
          </a:xfrm>
          <a:prstGeom prst="rect">
            <a:avLst/>
          </a:prstGeom>
          <a:noFill/>
          <a:ln>
            <a:noFill/>
          </a:ln>
        </p:spPr>
      </p:pic>
      <p:pic>
        <p:nvPicPr>
          <p:cNvPr id="854" name="Google Shape;854;p101"/>
          <p:cNvPicPr preferRelativeResize="0"/>
          <p:nvPr/>
        </p:nvPicPr>
        <p:blipFill rotWithShape="1">
          <a:blip r:embed="rId47">
            <a:alphaModFix/>
          </a:blip>
          <a:srcRect/>
          <a:stretch/>
        </p:blipFill>
        <p:spPr>
          <a:xfrm>
            <a:off x="8623670" y="4409441"/>
            <a:ext cx="1025915" cy="50609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6" name="Google Shape;476;p81"/>
          <p:cNvSpPr/>
          <p:nvPr/>
        </p:nvSpPr>
        <p:spPr>
          <a:xfrm>
            <a:off x="334098" y="1347180"/>
            <a:ext cx="9372660" cy="5078040"/>
          </a:xfrm>
          <a:prstGeom prst="round1Rect">
            <a:avLst>
              <a:gd name="adj" fmla="val 50000"/>
            </a:avLst>
          </a:prstGeom>
          <a:solidFill>
            <a:srgbClr val="AE841F"/>
          </a:solidFill>
          <a:ln>
            <a:noFill/>
          </a:ln>
        </p:spPr>
        <p:txBody>
          <a:bodyPr spcFirstLastPara="1" wrap="square" lIns="100568" tIns="100568" rIns="100568" bIns="100568" anchor="ctr" anchorCtr="0">
            <a:noAutofit/>
          </a:bodyPr>
          <a:lstStyle/>
          <a:p>
            <a:pPr defTabSz="1005840">
              <a:defRPr/>
            </a:pPr>
            <a:endParaRPr sz="1980" kern="0">
              <a:solidFill>
                <a:sysClr val="windowText" lastClr="000000"/>
              </a:solidFill>
            </a:endParaRPr>
          </a:p>
        </p:txBody>
      </p:sp>
      <p:pic>
        <p:nvPicPr>
          <p:cNvPr id="477" name="Google Shape;477;p81"/>
          <p:cNvPicPr preferRelativeResize="0"/>
          <p:nvPr/>
        </p:nvPicPr>
        <p:blipFill rotWithShape="1">
          <a:blip r:embed="rId3">
            <a:alphaModFix amt="12000"/>
          </a:blip>
          <a:srcRect t="9376" b="9368"/>
          <a:stretch/>
        </p:blipFill>
        <p:spPr>
          <a:xfrm>
            <a:off x="333988" y="1347180"/>
            <a:ext cx="9372660" cy="5078040"/>
          </a:xfrm>
          <a:prstGeom prst="round1Rect">
            <a:avLst>
              <a:gd name="adj" fmla="val 50000"/>
            </a:avLst>
          </a:prstGeom>
          <a:noFill/>
          <a:ln>
            <a:noFill/>
          </a:ln>
        </p:spPr>
      </p:pic>
      <p:sp>
        <p:nvSpPr>
          <p:cNvPr id="479" name="Google Shape;479;p81"/>
          <p:cNvSpPr txBox="1"/>
          <p:nvPr/>
        </p:nvSpPr>
        <p:spPr>
          <a:xfrm>
            <a:off x="717448" y="2768656"/>
            <a:ext cx="3857700" cy="22344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568" tIns="100568" rIns="100568" bIns="100568" anchor="t" anchorCtr="0">
            <a:spAutoFit/>
          </a:bodyPr>
          <a:lstStyle/>
          <a:p>
            <a:pPr defTabSz="1005840">
              <a:defRPr/>
            </a:pPr>
            <a:endParaRPr sz="13200" kern="0">
              <a:solidFill>
                <a:prstClr val="white"/>
              </a:solidFill>
              <a:latin typeface="Source Serif Pro"/>
              <a:ea typeface="Source Serif Pro"/>
              <a:cs typeface="Source Serif Pro"/>
              <a:sym typeface="Source Serif Pro"/>
            </a:endParaRPr>
          </a:p>
        </p:txBody>
      </p:sp>
      <p:sp>
        <p:nvSpPr>
          <p:cNvPr id="480" name="Google Shape;480;p81"/>
          <p:cNvSpPr txBox="1"/>
          <p:nvPr/>
        </p:nvSpPr>
        <p:spPr>
          <a:xfrm>
            <a:off x="803988" y="2667000"/>
            <a:ext cx="7583070" cy="3554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568" tIns="100568" rIns="100568" bIns="100568" anchor="t" anchorCtr="0">
            <a:spAutoFit/>
          </a:bodyPr>
          <a:lstStyle/>
          <a:p>
            <a:pPr defTabSz="1005840">
              <a:defRPr/>
            </a:pPr>
            <a:r>
              <a:rPr lang="en" sz="3960" kern="0" dirty="0">
                <a:solidFill>
                  <a:prstClr val="white"/>
                </a:solidFill>
                <a:latin typeface="Source Serif Pro"/>
                <a:ea typeface="Source Serif Pro"/>
                <a:cs typeface="Source Serif Pro"/>
                <a:sym typeface="Source Serif Pro"/>
              </a:rPr>
              <a:t>How do you help your graduates translate learner outcomes into skills … and then into opportunities With Digital GED Credentials? </a:t>
            </a:r>
            <a:endParaRPr sz="3960" kern="0" dirty="0">
              <a:solidFill>
                <a:prstClr val="white"/>
              </a:solidFill>
              <a:latin typeface="Source Serif Pro"/>
              <a:ea typeface="Source Serif Pro"/>
              <a:cs typeface="Source Serif Pro"/>
              <a:sym typeface="Source Serif Pro"/>
            </a:endParaRPr>
          </a:p>
          <a:p>
            <a:pPr defTabSz="1005840">
              <a:defRPr/>
            </a:pPr>
            <a:endParaRPr sz="1980" kern="0" dirty="0">
              <a:solidFill>
                <a:sysClr val="windowText" lastClr="000000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D08EC6-3A72-2CB6-B0DE-6AD308E37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06187"/>
            <a:ext cx="9372660" cy="865413"/>
          </a:xfrm>
        </p:spPr>
        <p:txBody>
          <a:bodyPr/>
          <a:lstStyle/>
          <a:p>
            <a:r>
              <a:rPr lang="en-US" dirty="0"/>
              <a:t>GED Digital Credential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8856562-B06E-CAB8-EA41-4BAF8698F5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3000" y="1371600"/>
            <a:ext cx="8915400" cy="590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8116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6" name="Google Shape;486;p82"/>
          <p:cNvSpPr txBox="1">
            <a:spLocks noGrp="1"/>
          </p:cNvSpPr>
          <p:nvPr>
            <p:ph type="title"/>
          </p:nvPr>
        </p:nvSpPr>
        <p:spPr>
          <a:xfrm>
            <a:off x="342870" y="1546802"/>
            <a:ext cx="3277560" cy="6299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568" tIns="100568" rIns="100568" bIns="100568" anchor="t" anchorCtr="0">
            <a:noAutofit/>
          </a:bodyPr>
          <a:lstStyle/>
          <a:p>
            <a:pPr>
              <a:buSzPts val="1900"/>
            </a:pPr>
            <a:r>
              <a:rPr lang="en">
                <a:solidFill>
                  <a:schemeClr val="dk1"/>
                </a:solidFill>
              </a:rPr>
              <a:t>A Currency for Human Capital</a:t>
            </a:r>
            <a:endParaRPr>
              <a:solidFill>
                <a:schemeClr val="dk1"/>
              </a:solidFill>
            </a:endParaRPr>
          </a:p>
        </p:txBody>
      </p:sp>
      <p:grpSp>
        <p:nvGrpSpPr>
          <p:cNvPr id="487" name="Google Shape;487;p82"/>
          <p:cNvGrpSpPr/>
          <p:nvPr/>
        </p:nvGrpSpPr>
        <p:grpSpPr>
          <a:xfrm>
            <a:off x="331797" y="2863833"/>
            <a:ext cx="3039538" cy="512914"/>
            <a:chOff x="301634" y="1642324"/>
            <a:chExt cx="2763216" cy="466285"/>
          </a:xfrm>
        </p:grpSpPr>
        <p:sp>
          <p:nvSpPr>
            <p:cNvPr id="488" name="Google Shape;488;p82"/>
            <p:cNvSpPr txBox="1"/>
            <p:nvPr/>
          </p:nvSpPr>
          <p:spPr>
            <a:xfrm>
              <a:off x="743450" y="1642324"/>
              <a:ext cx="2321400" cy="463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00568" tIns="100568" rIns="100568" bIns="100568" anchor="ctr" anchorCtr="0">
              <a:noAutofit/>
            </a:bodyPr>
            <a:lstStyle/>
            <a:p>
              <a:pPr defTabSz="1005840">
                <a:buClr>
                  <a:srgbClr val="000000"/>
                </a:buClr>
                <a:buSzPts val="1600"/>
                <a:defRPr/>
              </a:pPr>
              <a:r>
                <a:rPr lang="en" sz="1760" kern="0">
                  <a:solidFill>
                    <a:srgbClr val="1F497D"/>
                  </a:solidFill>
                  <a:latin typeface="Proxima Nova"/>
                  <a:ea typeface="Proxima Nova"/>
                  <a:cs typeface="Proxima Nova"/>
                  <a:sym typeface="Proxima Nova"/>
                </a:rPr>
                <a:t>Trusted Sources</a:t>
              </a:r>
              <a:endParaRPr sz="1760" kern="0">
                <a:solidFill>
                  <a:srgbClr val="1F497D"/>
                </a:solidFill>
                <a:latin typeface="Proxima Nova"/>
                <a:ea typeface="Proxima Nova"/>
                <a:cs typeface="Proxima Nova"/>
                <a:sym typeface="Proxima Nova"/>
              </a:endParaRPr>
            </a:p>
          </p:txBody>
        </p:sp>
        <p:sp>
          <p:nvSpPr>
            <p:cNvPr id="489" name="Google Shape;489;p82"/>
            <p:cNvSpPr txBox="1"/>
            <p:nvPr/>
          </p:nvSpPr>
          <p:spPr>
            <a:xfrm>
              <a:off x="301634" y="1645109"/>
              <a:ext cx="476100" cy="463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00568" tIns="100568" rIns="100568" bIns="100568" anchor="ctr" anchorCtr="0">
              <a:noAutofit/>
            </a:bodyPr>
            <a:lstStyle/>
            <a:p>
              <a:pPr algn="ctr" defTabSz="1005840">
                <a:buClr>
                  <a:srgbClr val="000000"/>
                </a:buClr>
                <a:buSzPts val="3000"/>
                <a:defRPr/>
              </a:pPr>
              <a:r>
                <a:rPr lang="en" sz="3300" kern="0">
                  <a:solidFill>
                    <a:srgbClr val="1F497D"/>
                  </a:solidFill>
                  <a:latin typeface="Proxima Nova"/>
                  <a:ea typeface="Proxima Nova"/>
                  <a:cs typeface="Proxima Nova"/>
                  <a:sym typeface="Proxima Nova"/>
                </a:rPr>
                <a:t>✓</a:t>
              </a:r>
              <a:endParaRPr sz="3300" kern="0">
                <a:solidFill>
                  <a:srgbClr val="1F497D"/>
                </a:solidFill>
                <a:latin typeface="Proxima Nova"/>
                <a:ea typeface="Proxima Nova"/>
                <a:cs typeface="Proxima Nova"/>
                <a:sym typeface="Proxima Nova"/>
              </a:endParaRPr>
            </a:p>
          </p:txBody>
        </p:sp>
      </p:grpSp>
      <p:grpSp>
        <p:nvGrpSpPr>
          <p:cNvPr id="490" name="Google Shape;490;p82"/>
          <p:cNvGrpSpPr/>
          <p:nvPr/>
        </p:nvGrpSpPr>
        <p:grpSpPr>
          <a:xfrm>
            <a:off x="355713" y="3614911"/>
            <a:ext cx="2586291" cy="524445"/>
            <a:chOff x="664475" y="2311857"/>
            <a:chExt cx="2351174" cy="476768"/>
          </a:xfrm>
        </p:grpSpPr>
        <p:sp>
          <p:nvSpPr>
            <p:cNvPr id="491" name="Google Shape;491;p82"/>
            <p:cNvSpPr txBox="1"/>
            <p:nvPr/>
          </p:nvSpPr>
          <p:spPr>
            <a:xfrm>
              <a:off x="1084549" y="2325125"/>
              <a:ext cx="1931100" cy="463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00568" tIns="100568" rIns="100568" bIns="100568" anchor="t" anchorCtr="0">
              <a:noAutofit/>
            </a:bodyPr>
            <a:lstStyle/>
            <a:p>
              <a:pPr defTabSz="1005840">
                <a:buClr>
                  <a:srgbClr val="000000"/>
                </a:buClr>
                <a:buSzPts val="1600"/>
                <a:defRPr/>
              </a:pPr>
              <a:r>
                <a:rPr lang="en" sz="1760" kern="0">
                  <a:solidFill>
                    <a:srgbClr val="1F497D"/>
                  </a:solidFill>
                  <a:latin typeface="Proxima Nova"/>
                  <a:ea typeface="Proxima Nova"/>
                  <a:cs typeface="Proxima Nova"/>
                  <a:sym typeface="Proxima Nova"/>
                </a:rPr>
                <a:t>Skill Transparency</a:t>
              </a:r>
              <a:endParaRPr sz="1760" kern="0">
                <a:solidFill>
                  <a:srgbClr val="1F497D"/>
                </a:solidFill>
                <a:latin typeface="Proxima Nova"/>
                <a:ea typeface="Proxima Nova"/>
                <a:cs typeface="Proxima Nova"/>
                <a:sym typeface="Proxima Nova"/>
              </a:endParaRPr>
            </a:p>
          </p:txBody>
        </p:sp>
        <p:sp>
          <p:nvSpPr>
            <p:cNvPr id="492" name="Google Shape;492;p82"/>
            <p:cNvSpPr txBox="1"/>
            <p:nvPr/>
          </p:nvSpPr>
          <p:spPr>
            <a:xfrm>
              <a:off x="664475" y="2311857"/>
              <a:ext cx="476100" cy="463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00568" tIns="100568" rIns="100568" bIns="100568" anchor="ctr" anchorCtr="0">
              <a:noAutofit/>
            </a:bodyPr>
            <a:lstStyle/>
            <a:p>
              <a:pPr algn="ctr" defTabSz="1005840">
                <a:buClr>
                  <a:srgbClr val="000000"/>
                </a:buClr>
                <a:buSzPts val="3000"/>
                <a:defRPr/>
              </a:pPr>
              <a:r>
                <a:rPr lang="en" sz="3300" kern="0">
                  <a:solidFill>
                    <a:srgbClr val="1F497D"/>
                  </a:solidFill>
                  <a:latin typeface="Proxima Nova"/>
                  <a:ea typeface="Proxima Nova"/>
                  <a:cs typeface="Proxima Nova"/>
                  <a:sym typeface="Proxima Nova"/>
                </a:rPr>
                <a:t>✓</a:t>
              </a:r>
              <a:endParaRPr sz="3300" kern="0">
                <a:solidFill>
                  <a:srgbClr val="1F497D"/>
                </a:solidFill>
                <a:latin typeface="Proxima Nova"/>
                <a:ea typeface="Proxima Nova"/>
                <a:cs typeface="Proxima Nova"/>
                <a:sym typeface="Proxima Nova"/>
              </a:endParaRPr>
            </a:p>
          </p:txBody>
        </p:sp>
      </p:grpSp>
      <p:grpSp>
        <p:nvGrpSpPr>
          <p:cNvPr id="493" name="Google Shape;493;p82"/>
          <p:cNvGrpSpPr/>
          <p:nvPr/>
        </p:nvGrpSpPr>
        <p:grpSpPr>
          <a:xfrm>
            <a:off x="366742" y="4410025"/>
            <a:ext cx="2717963" cy="509871"/>
            <a:chOff x="664475" y="2978605"/>
            <a:chExt cx="2470875" cy="463519"/>
          </a:xfrm>
        </p:grpSpPr>
        <p:sp>
          <p:nvSpPr>
            <p:cNvPr id="494" name="Google Shape;494;p82"/>
            <p:cNvSpPr txBox="1"/>
            <p:nvPr/>
          </p:nvSpPr>
          <p:spPr>
            <a:xfrm>
              <a:off x="1084550" y="2978624"/>
              <a:ext cx="2050800" cy="463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00568" tIns="100568" rIns="100568" bIns="100568" anchor="t" anchorCtr="0">
              <a:noAutofit/>
            </a:bodyPr>
            <a:lstStyle/>
            <a:p>
              <a:pPr defTabSz="1005840">
                <a:buClr>
                  <a:srgbClr val="000000"/>
                </a:buClr>
                <a:buSzPts val="1600"/>
                <a:defRPr/>
              </a:pPr>
              <a:r>
                <a:rPr lang="en" sz="1760" kern="0">
                  <a:solidFill>
                    <a:srgbClr val="1F497D"/>
                  </a:solidFill>
                  <a:latin typeface="Proxima Nova"/>
                  <a:ea typeface="Proxima Nova"/>
                  <a:cs typeface="Proxima Nova"/>
                  <a:sym typeface="Proxima Nova"/>
                </a:rPr>
                <a:t>Connection to Jobs</a:t>
              </a:r>
              <a:endParaRPr sz="1760" kern="0">
                <a:solidFill>
                  <a:srgbClr val="1F497D"/>
                </a:solidFill>
                <a:latin typeface="Proxima Nova"/>
                <a:ea typeface="Proxima Nova"/>
                <a:cs typeface="Proxima Nova"/>
                <a:sym typeface="Proxima Nova"/>
              </a:endParaRPr>
            </a:p>
          </p:txBody>
        </p:sp>
        <p:sp>
          <p:nvSpPr>
            <p:cNvPr id="495" name="Google Shape;495;p82"/>
            <p:cNvSpPr txBox="1"/>
            <p:nvPr/>
          </p:nvSpPr>
          <p:spPr>
            <a:xfrm>
              <a:off x="664475" y="2978605"/>
              <a:ext cx="476100" cy="463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00568" tIns="100568" rIns="100568" bIns="100568" anchor="ctr" anchorCtr="0">
              <a:noAutofit/>
            </a:bodyPr>
            <a:lstStyle/>
            <a:p>
              <a:pPr algn="ctr" defTabSz="1005840">
                <a:buClr>
                  <a:srgbClr val="000000"/>
                </a:buClr>
                <a:buSzPts val="3000"/>
                <a:defRPr/>
              </a:pPr>
              <a:r>
                <a:rPr lang="en" sz="3300" kern="0">
                  <a:solidFill>
                    <a:srgbClr val="1F497D"/>
                  </a:solidFill>
                  <a:latin typeface="Proxima Nova"/>
                  <a:ea typeface="Proxima Nova"/>
                  <a:cs typeface="Proxima Nova"/>
                  <a:sym typeface="Proxima Nova"/>
                </a:rPr>
                <a:t>✓</a:t>
              </a:r>
              <a:endParaRPr sz="3300" kern="0">
                <a:solidFill>
                  <a:srgbClr val="1F497D"/>
                </a:solidFill>
                <a:latin typeface="Proxima Nova"/>
                <a:ea typeface="Proxima Nova"/>
                <a:cs typeface="Proxima Nova"/>
                <a:sym typeface="Proxima Nova"/>
              </a:endParaRPr>
            </a:p>
          </p:txBody>
        </p:sp>
      </p:grpSp>
      <p:grpSp>
        <p:nvGrpSpPr>
          <p:cNvPr id="496" name="Google Shape;496;p82"/>
          <p:cNvGrpSpPr/>
          <p:nvPr/>
        </p:nvGrpSpPr>
        <p:grpSpPr>
          <a:xfrm>
            <a:off x="355714" y="5067217"/>
            <a:ext cx="3145973" cy="524393"/>
            <a:chOff x="664475" y="3632131"/>
            <a:chExt cx="2859975" cy="476721"/>
          </a:xfrm>
        </p:grpSpPr>
        <p:sp>
          <p:nvSpPr>
            <p:cNvPr id="497" name="Google Shape;497;p82"/>
            <p:cNvSpPr txBox="1"/>
            <p:nvPr/>
          </p:nvSpPr>
          <p:spPr>
            <a:xfrm>
              <a:off x="1084550" y="3632131"/>
              <a:ext cx="2439900" cy="463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00568" tIns="100568" rIns="100568" bIns="100568" anchor="t" anchorCtr="0">
              <a:noAutofit/>
            </a:bodyPr>
            <a:lstStyle/>
            <a:p>
              <a:pPr defTabSz="1005840">
                <a:buClr>
                  <a:srgbClr val="000000"/>
                </a:buClr>
                <a:buSzPts val="1600"/>
                <a:defRPr/>
              </a:pPr>
              <a:r>
                <a:rPr lang="en" sz="1760" kern="0">
                  <a:solidFill>
                    <a:srgbClr val="1F497D"/>
                  </a:solidFill>
                  <a:latin typeface="Proxima Nova"/>
                  <a:ea typeface="Proxima Nova"/>
                  <a:cs typeface="Proxima Nova"/>
                  <a:sym typeface="Proxima Nova"/>
                </a:rPr>
                <a:t>Verified Accomplishments</a:t>
              </a:r>
              <a:endParaRPr sz="1760" kern="0">
                <a:solidFill>
                  <a:srgbClr val="1F497D"/>
                </a:solidFill>
                <a:latin typeface="Proxima Nova"/>
                <a:ea typeface="Proxima Nova"/>
                <a:cs typeface="Proxima Nova"/>
                <a:sym typeface="Proxima Nova"/>
              </a:endParaRPr>
            </a:p>
          </p:txBody>
        </p:sp>
        <p:sp>
          <p:nvSpPr>
            <p:cNvPr id="498" name="Google Shape;498;p82"/>
            <p:cNvSpPr txBox="1"/>
            <p:nvPr/>
          </p:nvSpPr>
          <p:spPr>
            <a:xfrm>
              <a:off x="664475" y="3645352"/>
              <a:ext cx="476100" cy="463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00568" tIns="100568" rIns="100568" bIns="100568" anchor="ctr" anchorCtr="0">
              <a:noAutofit/>
            </a:bodyPr>
            <a:lstStyle/>
            <a:p>
              <a:pPr algn="ctr" defTabSz="1005840">
                <a:buClr>
                  <a:srgbClr val="000000"/>
                </a:buClr>
                <a:buSzPts val="3000"/>
                <a:defRPr/>
              </a:pPr>
              <a:r>
                <a:rPr lang="en" sz="3300" kern="0">
                  <a:solidFill>
                    <a:srgbClr val="1F497D"/>
                  </a:solidFill>
                  <a:latin typeface="Proxima Nova"/>
                  <a:ea typeface="Proxima Nova"/>
                  <a:cs typeface="Proxima Nova"/>
                  <a:sym typeface="Proxima Nova"/>
                </a:rPr>
                <a:t>✓</a:t>
              </a:r>
              <a:endParaRPr sz="3300" kern="0">
                <a:solidFill>
                  <a:srgbClr val="1F497D"/>
                </a:solidFill>
                <a:latin typeface="Proxima Nova"/>
                <a:ea typeface="Proxima Nova"/>
                <a:cs typeface="Proxima Nova"/>
                <a:sym typeface="Proxima Nova"/>
              </a:endParaRPr>
            </a:p>
          </p:txBody>
        </p:sp>
      </p:grpSp>
      <p:sp>
        <p:nvSpPr>
          <p:cNvPr id="499" name="Google Shape;499;p82"/>
          <p:cNvSpPr txBox="1">
            <a:spLocks noGrp="1"/>
          </p:cNvSpPr>
          <p:nvPr>
            <p:ph type="sldNum" idx="12"/>
          </p:nvPr>
        </p:nvSpPr>
        <p:spPr>
          <a:xfrm>
            <a:off x="6674828" y="6354463"/>
            <a:ext cx="3090780" cy="3837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568" tIns="100568" rIns="100568" bIns="100568" anchor="ctr" anchorCtr="0">
            <a:noAutofit/>
          </a:bodyPr>
          <a:lstStyle/>
          <a:p>
            <a:pPr defTabSz="1005840">
              <a:defRPr/>
            </a:pPr>
            <a:r>
              <a:rPr lang="en" kern="0"/>
              <a:t>© 2012-2020 Credly, Inc | Proprietary &amp; Confidential</a:t>
            </a:r>
            <a:fld id="{00000000-1234-1234-1234-123412341234}" type="slidenum">
              <a:rPr lang="en" kern="0">
                <a:solidFill>
                  <a:srgbClr val="005850"/>
                </a:solidFill>
              </a:rPr>
              <a:pPr defTabSz="1005840">
                <a:defRPr/>
              </a:pPr>
              <a:t>16</a:t>
            </a:fld>
            <a:endParaRPr kern="0">
              <a:solidFill>
                <a:srgbClr val="005850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8F7D6F6-4C12-44DD-83F5-7A7537D261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96597" y="1625233"/>
            <a:ext cx="6720238" cy="5113020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4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4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9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4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300"/>
                                        <p:tgtEl>
                                          <p:spTgt spid="4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8" name="Google Shape;558;p88"/>
          <p:cNvSpPr txBox="1">
            <a:spLocks noGrp="1"/>
          </p:cNvSpPr>
          <p:nvPr>
            <p:ph type="title"/>
          </p:nvPr>
        </p:nvSpPr>
        <p:spPr>
          <a:xfrm>
            <a:off x="342870" y="1546802"/>
            <a:ext cx="9372660" cy="629970"/>
          </a:xfrm>
          <a:prstGeom prst="rect">
            <a:avLst/>
          </a:prstGeom>
        </p:spPr>
        <p:txBody>
          <a:bodyPr spcFirstLastPara="1" wrap="square" lIns="100568" tIns="100568" rIns="100568" bIns="100568" anchor="t" anchorCtr="0">
            <a:noAutofit/>
          </a:bodyPr>
          <a:lstStyle/>
          <a:p>
            <a:pPr algn="l"/>
            <a:r>
              <a:rPr lang="en"/>
              <a:t>Credly Connects Earners to Opportunities </a:t>
            </a:r>
            <a:endParaRPr/>
          </a:p>
        </p:txBody>
      </p:sp>
      <p:sp>
        <p:nvSpPr>
          <p:cNvPr id="560" name="Google Shape;560;p88"/>
          <p:cNvSpPr/>
          <p:nvPr/>
        </p:nvSpPr>
        <p:spPr>
          <a:xfrm>
            <a:off x="2381459" y="2872399"/>
            <a:ext cx="653730" cy="4059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00568" tIns="100568" rIns="100568" bIns="100568" anchor="ctr" anchorCtr="0">
            <a:noAutofit/>
          </a:bodyPr>
          <a:lstStyle/>
          <a:p>
            <a:pPr defTabSz="1005840">
              <a:defRPr/>
            </a:pPr>
            <a:endParaRPr sz="1980" kern="0">
              <a:solidFill>
                <a:sysClr val="windowText" lastClr="000000"/>
              </a:solidFill>
            </a:endParaRPr>
          </a:p>
        </p:txBody>
      </p:sp>
      <p:sp>
        <p:nvSpPr>
          <p:cNvPr id="561" name="Google Shape;561;p88"/>
          <p:cNvSpPr/>
          <p:nvPr/>
        </p:nvSpPr>
        <p:spPr>
          <a:xfrm>
            <a:off x="1267075" y="2552340"/>
            <a:ext cx="653730" cy="653730"/>
          </a:xfrm>
          <a:prstGeom prst="ellipse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0568" tIns="100568" rIns="100568" bIns="100568" anchor="ctr" anchorCtr="0">
            <a:noAutofit/>
          </a:bodyPr>
          <a:lstStyle/>
          <a:p>
            <a:pPr defTabSz="1005840">
              <a:defRPr/>
            </a:pPr>
            <a:endParaRPr sz="1980" kern="0">
              <a:solidFill>
                <a:sysClr val="windowText" lastClr="000000"/>
              </a:solidFill>
            </a:endParaRPr>
          </a:p>
        </p:txBody>
      </p:sp>
      <p:sp>
        <p:nvSpPr>
          <p:cNvPr id="562" name="Google Shape;562;p88"/>
          <p:cNvSpPr txBox="1"/>
          <p:nvPr/>
        </p:nvSpPr>
        <p:spPr>
          <a:xfrm>
            <a:off x="653937" y="3410313"/>
            <a:ext cx="1880010" cy="491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568" tIns="100568" rIns="100568" bIns="100568" anchor="b" anchorCtr="0">
            <a:noAutofit/>
          </a:bodyPr>
          <a:lstStyle/>
          <a:p>
            <a:pPr algn="ctr" defTabSz="1005840">
              <a:lnSpc>
                <a:spcPct val="115000"/>
              </a:lnSpc>
              <a:defRPr/>
            </a:pPr>
            <a:r>
              <a:rPr lang="en" sz="1100" b="1" kern="0">
                <a:solidFill>
                  <a:srgbClr val="9BBB59"/>
                </a:solidFill>
                <a:latin typeface="Roboto"/>
                <a:ea typeface="Roboto"/>
                <a:cs typeface="Roboto"/>
                <a:sym typeface="Roboto"/>
              </a:rPr>
              <a:t>Individual </a:t>
            </a:r>
            <a:endParaRPr sz="1100" b="1" kern="0">
              <a:solidFill>
                <a:srgbClr val="9BBB59"/>
              </a:solidFill>
              <a:latin typeface="Roboto"/>
              <a:ea typeface="Roboto"/>
              <a:cs typeface="Roboto"/>
              <a:sym typeface="Roboto"/>
            </a:endParaRPr>
          </a:p>
          <a:p>
            <a:pPr algn="ctr" defTabSz="1005840">
              <a:lnSpc>
                <a:spcPct val="115000"/>
              </a:lnSpc>
              <a:defRPr/>
            </a:pPr>
            <a:r>
              <a:rPr lang="en" sz="1100" b="1" kern="0">
                <a:solidFill>
                  <a:srgbClr val="9BBB59"/>
                </a:solidFill>
                <a:latin typeface="Roboto"/>
                <a:ea typeface="Roboto"/>
                <a:cs typeface="Roboto"/>
                <a:sym typeface="Roboto"/>
              </a:rPr>
              <a:t>Earns a Credential</a:t>
            </a:r>
            <a:endParaRPr sz="1100" b="1" kern="0">
              <a:solidFill>
                <a:srgbClr val="9BBB59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63" name="Google Shape;563;p88"/>
          <p:cNvSpPr/>
          <p:nvPr/>
        </p:nvSpPr>
        <p:spPr>
          <a:xfrm>
            <a:off x="3582505" y="2552340"/>
            <a:ext cx="653730" cy="653730"/>
          </a:xfrm>
          <a:prstGeom prst="ellipse">
            <a:avLst/>
          </a:prstGeom>
          <a:noFill/>
          <a:ln w="381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0568" tIns="100568" rIns="100568" bIns="100568" anchor="ctr" anchorCtr="0">
            <a:noAutofit/>
          </a:bodyPr>
          <a:lstStyle/>
          <a:p>
            <a:pPr defTabSz="1005840">
              <a:defRPr/>
            </a:pPr>
            <a:endParaRPr sz="1980" kern="0">
              <a:solidFill>
                <a:sysClr val="windowText" lastClr="000000"/>
              </a:solidFill>
            </a:endParaRPr>
          </a:p>
        </p:txBody>
      </p:sp>
      <p:sp>
        <p:nvSpPr>
          <p:cNvPr id="564" name="Google Shape;564;p88"/>
          <p:cNvSpPr txBox="1"/>
          <p:nvPr/>
        </p:nvSpPr>
        <p:spPr>
          <a:xfrm>
            <a:off x="2969368" y="3410313"/>
            <a:ext cx="1880010" cy="491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568" tIns="100568" rIns="100568" bIns="100568" anchor="b" anchorCtr="0">
            <a:noAutofit/>
          </a:bodyPr>
          <a:lstStyle/>
          <a:p>
            <a:pPr algn="ctr" defTabSz="1005840">
              <a:lnSpc>
                <a:spcPct val="115000"/>
              </a:lnSpc>
              <a:defRPr/>
            </a:pPr>
            <a:r>
              <a:rPr lang="en" sz="1100" b="1" kern="0">
                <a:solidFill>
                  <a:srgbClr val="9BBB59"/>
                </a:solidFill>
                <a:latin typeface="Roboto"/>
                <a:ea typeface="Roboto"/>
                <a:cs typeface="Roboto"/>
                <a:sym typeface="Roboto"/>
              </a:rPr>
              <a:t>Credential Issued </a:t>
            </a:r>
            <a:endParaRPr sz="1100" b="1" kern="0">
              <a:solidFill>
                <a:srgbClr val="9BBB59"/>
              </a:solidFill>
              <a:latin typeface="Roboto"/>
              <a:ea typeface="Roboto"/>
              <a:cs typeface="Roboto"/>
              <a:sym typeface="Roboto"/>
            </a:endParaRPr>
          </a:p>
          <a:p>
            <a:pPr algn="ctr" defTabSz="1005840">
              <a:lnSpc>
                <a:spcPct val="115000"/>
              </a:lnSpc>
              <a:defRPr/>
            </a:pPr>
            <a:r>
              <a:rPr lang="en" sz="1100" b="1" kern="0">
                <a:solidFill>
                  <a:srgbClr val="9BBB59"/>
                </a:solidFill>
                <a:latin typeface="Roboto"/>
                <a:ea typeface="Roboto"/>
                <a:cs typeface="Roboto"/>
                <a:sym typeface="Roboto"/>
              </a:rPr>
              <a:t>on Credly</a:t>
            </a:r>
            <a:endParaRPr sz="1100" b="1" kern="0">
              <a:solidFill>
                <a:srgbClr val="9BBB59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65" name="Google Shape;565;p88"/>
          <p:cNvSpPr/>
          <p:nvPr/>
        </p:nvSpPr>
        <p:spPr>
          <a:xfrm>
            <a:off x="5872689" y="2552340"/>
            <a:ext cx="653730" cy="653730"/>
          </a:xfrm>
          <a:prstGeom prst="ellipse">
            <a:avLst/>
          </a:prstGeom>
          <a:noFill/>
          <a:ln w="38100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0568" tIns="100568" rIns="100568" bIns="100568" anchor="ctr" anchorCtr="0">
            <a:noAutofit/>
          </a:bodyPr>
          <a:lstStyle/>
          <a:p>
            <a:pPr defTabSz="1005840">
              <a:defRPr/>
            </a:pPr>
            <a:endParaRPr sz="1980" kern="0">
              <a:solidFill>
                <a:sysClr val="windowText" lastClr="000000"/>
              </a:solidFill>
            </a:endParaRPr>
          </a:p>
        </p:txBody>
      </p:sp>
      <p:sp>
        <p:nvSpPr>
          <p:cNvPr id="566" name="Google Shape;566;p88"/>
          <p:cNvSpPr txBox="1"/>
          <p:nvPr/>
        </p:nvSpPr>
        <p:spPr>
          <a:xfrm>
            <a:off x="5259554" y="3410313"/>
            <a:ext cx="1880010" cy="491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568" tIns="100568" rIns="100568" bIns="100568" anchor="b" anchorCtr="0">
            <a:noAutofit/>
          </a:bodyPr>
          <a:lstStyle/>
          <a:p>
            <a:pPr algn="ctr" defTabSz="1005840">
              <a:lnSpc>
                <a:spcPct val="115000"/>
              </a:lnSpc>
              <a:defRPr/>
            </a:pPr>
            <a:r>
              <a:rPr lang="en" sz="1100" b="1" kern="0">
                <a:solidFill>
                  <a:srgbClr val="9BBB59"/>
                </a:solidFill>
                <a:latin typeface="Roboto"/>
                <a:ea typeface="Roboto"/>
                <a:cs typeface="Roboto"/>
                <a:sym typeface="Roboto"/>
              </a:rPr>
              <a:t>Earner Curates</a:t>
            </a:r>
            <a:endParaRPr sz="1100" b="1" kern="0">
              <a:solidFill>
                <a:srgbClr val="9BBB59"/>
              </a:solidFill>
              <a:latin typeface="Roboto"/>
              <a:ea typeface="Roboto"/>
              <a:cs typeface="Roboto"/>
              <a:sym typeface="Roboto"/>
            </a:endParaRPr>
          </a:p>
          <a:p>
            <a:pPr algn="ctr" defTabSz="1005840">
              <a:lnSpc>
                <a:spcPct val="115000"/>
              </a:lnSpc>
              <a:defRPr/>
            </a:pPr>
            <a:r>
              <a:rPr lang="en" sz="1100" b="1" kern="0">
                <a:solidFill>
                  <a:srgbClr val="9BBB59"/>
                </a:solidFill>
                <a:latin typeface="Roboto"/>
                <a:ea typeface="Roboto"/>
                <a:cs typeface="Roboto"/>
                <a:sym typeface="Roboto"/>
              </a:rPr>
              <a:t>Credly Profile </a:t>
            </a:r>
            <a:endParaRPr sz="1100" b="1" kern="0">
              <a:solidFill>
                <a:srgbClr val="9BBB59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67" name="Google Shape;567;p88"/>
          <p:cNvSpPr/>
          <p:nvPr/>
        </p:nvSpPr>
        <p:spPr>
          <a:xfrm>
            <a:off x="8162865" y="2552340"/>
            <a:ext cx="653730" cy="653730"/>
          </a:xfrm>
          <a:prstGeom prst="ellipse">
            <a:avLst/>
          </a:prstGeom>
          <a:noFill/>
          <a:ln w="38100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0568" tIns="100568" rIns="100568" bIns="100568" anchor="ctr" anchorCtr="0">
            <a:noAutofit/>
          </a:bodyPr>
          <a:lstStyle/>
          <a:p>
            <a:pPr defTabSz="1005840">
              <a:defRPr/>
            </a:pPr>
            <a:endParaRPr sz="1980" kern="0">
              <a:solidFill>
                <a:sysClr val="windowText" lastClr="000000"/>
              </a:solidFill>
            </a:endParaRPr>
          </a:p>
        </p:txBody>
      </p:sp>
      <p:sp>
        <p:nvSpPr>
          <p:cNvPr id="568" name="Google Shape;568;p88"/>
          <p:cNvSpPr txBox="1"/>
          <p:nvPr/>
        </p:nvSpPr>
        <p:spPr>
          <a:xfrm>
            <a:off x="7583744" y="3529443"/>
            <a:ext cx="1880010" cy="491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568" tIns="100568" rIns="100568" bIns="100568" anchor="b" anchorCtr="0">
            <a:noAutofit/>
          </a:bodyPr>
          <a:lstStyle/>
          <a:p>
            <a:pPr algn="ctr" defTabSz="1005840">
              <a:lnSpc>
                <a:spcPct val="115000"/>
              </a:lnSpc>
              <a:defRPr/>
            </a:pPr>
            <a:r>
              <a:rPr lang="en" sz="1100" b="1" kern="0">
                <a:solidFill>
                  <a:srgbClr val="9BBB59"/>
                </a:solidFill>
                <a:latin typeface="Roboto"/>
                <a:ea typeface="Roboto"/>
                <a:cs typeface="Roboto"/>
                <a:sym typeface="Roboto"/>
              </a:rPr>
              <a:t>Opportunities Presented to Earner via Credly,  Based on Earned Skills</a:t>
            </a:r>
            <a:endParaRPr sz="1100" b="1" kern="0">
              <a:solidFill>
                <a:srgbClr val="9BBB59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69" name="Google Shape;569;p88"/>
          <p:cNvSpPr/>
          <p:nvPr/>
        </p:nvSpPr>
        <p:spPr>
          <a:xfrm>
            <a:off x="4770893" y="2872399"/>
            <a:ext cx="653730" cy="4059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00568" tIns="100568" rIns="100568" bIns="100568" anchor="ctr" anchorCtr="0">
            <a:noAutofit/>
          </a:bodyPr>
          <a:lstStyle/>
          <a:p>
            <a:pPr defTabSz="1005840">
              <a:defRPr/>
            </a:pPr>
            <a:endParaRPr sz="1980" kern="0">
              <a:solidFill>
                <a:sysClr val="windowText" lastClr="000000"/>
              </a:solidFill>
            </a:endParaRPr>
          </a:p>
        </p:txBody>
      </p:sp>
      <p:sp>
        <p:nvSpPr>
          <p:cNvPr id="570" name="Google Shape;570;p88"/>
          <p:cNvSpPr/>
          <p:nvPr/>
        </p:nvSpPr>
        <p:spPr>
          <a:xfrm>
            <a:off x="7061065" y="2872399"/>
            <a:ext cx="653730" cy="4059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100568" tIns="100568" rIns="100568" bIns="100568" anchor="ctr" anchorCtr="0">
            <a:noAutofit/>
          </a:bodyPr>
          <a:lstStyle/>
          <a:p>
            <a:pPr defTabSz="1005840">
              <a:defRPr/>
            </a:pPr>
            <a:endParaRPr sz="1980" kern="0">
              <a:solidFill>
                <a:sysClr val="windowText" lastClr="000000"/>
              </a:solidFill>
            </a:endParaRPr>
          </a:p>
        </p:txBody>
      </p:sp>
      <p:pic>
        <p:nvPicPr>
          <p:cNvPr id="571" name="Google Shape;571;p8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306732" y="2591655"/>
            <a:ext cx="574420" cy="574420"/>
          </a:xfrm>
          <a:prstGeom prst="rect">
            <a:avLst/>
          </a:prstGeom>
          <a:noFill/>
          <a:ln>
            <a:noFill/>
          </a:ln>
        </p:spPr>
      </p:pic>
      <p:pic>
        <p:nvPicPr>
          <p:cNvPr id="572" name="Google Shape;572;p8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626220" y="2592214"/>
            <a:ext cx="573328" cy="573329"/>
          </a:xfrm>
          <a:prstGeom prst="rect">
            <a:avLst/>
          </a:prstGeom>
          <a:noFill/>
          <a:ln>
            <a:noFill/>
          </a:ln>
        </p:spPr>
      </p:pic>
      <p:pic>
        <p:nvPicPr>
          <p:cNvPr id="573" name="Google Shape;573;p88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5914209" y="2592215"/>
            <a:ext cx="573328" cy="573329"/>
          </a:xfrm>
          <a:prstGeom prst="rect">
            <a:avLst/>
          </a:prstGeom>
          <a:noFill/>
          <a:ln>
            <a:noFill/>
          </a:ln>
        </p:spPr>
      </p:pic>
      <p:pic>
        <p:nvPicPr>
          <p:cNvPr id="574" name="Google Shape;574;p88"/>
          <p:cNvPicPr preferRelativeResize="0"/>
          <p:nvPr/>
        </p:nvPicPr>
        <p:blipFill rotWithShape="1">
          <a:blip r:embed="rId6">
            <a:alphaModFix/>
          </a:blip>
          <a:srcRect l="12819" r="12819"/>
          <a:stretch/>
        </p:blipFill>
        <p:spPr>
          <a:xfrm>
            <a:off x="5333212" y="4081975"/>
            <a:ext cx="1729971" cy="1744791"/>
          </a:xfrm>
          <a:prstGeom prst="rect">
            <a:avLst/>
          </a:prstGeom>
          <a:noFill/>
          <a:ln>
            <a:noFill/>
          </a:ln>
        </p:spPr>
      </p:pic>
      <p:pic>
        <p:nvPicPr>
          <p:cNvPr id="575" name="Google Shape;575;p88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8210122" y="2593283"/>
            <a:ext cx="573328" cy="573329"/>
          </a:xfrm>
          <a:prstGeom prst="rect">
            <a:avLst/>
          </a:prstGeom>
          <a:noFill/>
          <a:ln>
            <a:noFill/>
          </a:ln>
        </p:spPr>
      </p:pic>
      <p:sp>
        <p:nvSpPr>
          <p:cNvPr id="576" name="Google Shape;576;p88"/>
          <p:cNvSpPr txBox="1"/>
          <p:nvPr/>
        </p:nvSpPr>
        <p:spPr>
          <a:xfrm>
            <a:off x="653950" y="3901353"/>
            <a:ext cx="1951620" cy="1523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568" tIns="50270" rIns="100568" bIns="50270" anchor="t" anchorCtr="0">
            <a:spAutoFit/>
          </a:bodyPr>
          <a:lstStyle/>
          <a:p>
            <a:pPr defTabSz="1005840">
              <a:defRPr/>
            </a:pPr>
            <a:br>
              <a:rPr lang="en" sz="1320" b="1" kern="0">
                <a:solidFill>
                  <a:srgbClr val="1F497D"/>
                </a:solidFill>
                <a:latin typeface="Proxima Nova"/>
                <a:ea typeface="Proxima Nova"/>
                <a:cs typeface="Proxima Nova"/>
                <a:sym typeface="Proxima Nova"/>
              </a:rPr>
            </a:br>
            <a:endParaRPr sz="1320" b="1" kern="0">
              <a:solidFill>
                <a:srgbClr val="1F497D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125730" indent="-146685" defTabSz="1005840">
              <a:buClr>
                <a:srgbClr val="1F497D"/>
              </a:buClr>
              <a:buSzPts val="1200"/>
              <a:buFont typeface="Proxima Nova"/>
              <a:buChar char="□"/>
              <a:defRPr/>
            </a:pPr>
            <a:r>
              <a:rPr lang="en" sz="1320" kern="0">
                <a:solidFill>
                  <a:srgbClr val="1F497D"/>
                </a:solidFill>
                <a:latin typeface="Proxima Nova"/>
                <a:ea typeface="Proxima Nova"/>
                <a:cs typeface="Proxima Nova"/>
                <a:sym typeface="Proxima Nova"/>
              </a:rPr>
              <a:t>Certification</a:t>
            </a:r>
            <a:endParaRPr sz="1320" kern="0">
              <a:solidFill>
                <a:srgbClr val="1F497D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125730" indent="-146685" defTabSz="1005840">
              <a:buClr>
                <a:srgbClr val="1F497D"/>
              </a:buClr>
              <a:buSzPts val="1200"/>
              <a:buFont typeface="Proxima Nova"/>
              <a:buChar char="□"/>
              <a:defRPr/>
            </a:pPr>
            <a:r>
              <a:rPr lang="en" sz="1320" kern="0">
                <a:solidFill>
                  <a:srgbClr val="1F497D"/>
                </a:solidFill>
                <a:latin typeface="Proxima Nova"/>
                <a:ea typeface="Proxima Nova"/>
                <a:cs typeface="Proxima Nova"/>
                <a:sym typeface="Proxima Nova"/>
              </a:rPr>
              <a:t>Assessment</a:t>
            </a:r>
            <a:endParaRPr sz="1320" kern="0">
              <a:solidFill>
                <a:srgbClr val="1F497D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125730" indent="-146685" defTabSz="1005840">
              <a:buClr>
                <a:srgbClr val="1F497D"/>
              </a:buClr>
              <a:buSzPts val="1200"/>
              <a:buFont typeface="Proxima Nova"/>
              <a:buChar char="□"/>
              <a:defRPr/>
            </a:pPr>
            <a:r>
              <a:rPr lang="en" sz="1320" kern="0">
                <a:solidFill>
                  <a:srgbClr val="1F497D"/>
                </a:solidFill>
                <a:latin typeface="Proxima Nova"/>
                <a:ea typeface="Proxima Nova"/>
                <a:cs typeface="Proxima Nova"/>
                <a:sym typeface="Proxima Nova"/>
              </a:rPr>
              <a:t>Course</a:t>
            </a:r>
            <a:endParaRPr sz="1320" kern="0">
              <a:solidFill>
                <a:srgbClr val="1F497D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125730" indent="-146685" defTabSz="1005840">
              <a:buClr>
                <a:srgbClr val="1F497D"/>
              </a:buClr>
              <a:buSzPts val="1200"/>
              <a:buFont typeface="Proxima Nova"/>
              <a:buChar char="□"/>
              <a:defRPr/>
            </a:pPr>
            <a:r>
              <a:rPr lang="en" sz="1320" kern="0">
                <a:solidFill>
                  <a:srgbClr val="1F497D"/>
                </a:solidFill>
                <a:latin typeface="Proxima Nova"/>
                <a:ea typeface="Proxima Nova"/>
                <a:cs typeface="Proxima Nova"/>
                <a:sym typeface="Proxima Nova"/>
              </a:rPr>
              <a:t>Learning Experience</a:t>
            </a:r>
            <a:endParaRPr sz="1320" kern="0">
              <a:solidFill>
                <a:srgbClr val="1F497D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125730" indent="-146685" defTabSz="1005840">
              <a:buClr>
                <a:srgbClr val="1F497D"/>
              </a:buClr>
              <a:buSzPts val="1200"/>
              <a:buFont typeface="Proxima Nova"/>
              <a:buChar char="□"/>
              <a:defRPr/>
            </a:pPr>
            <a:r>
              <a:rPr lang="en" sz="1320" kern="0">
                <a:solidFill>
                  <a:srgbClr val="1F497D"/>
                </a:solidFill>
                <a:latin typeface="Proxima Nova"/>
                <a:ea typeface="Proxima Nova"/>
                <a:cs typeface="Proxima Nova"/>
                <a:sym typeface="Proxima Nova"/>
              </a:rPr>
              <a:t>Other Achievements</a:t>
            </a:r>
            <a:endParaRPr sz="1320" kern="0">
              <a:solidFill>
                <a:srgbClr val="1F497D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577" name="Google Shape;577;p88"/>
          <p:cNvSpPr txBox="1"/>
          <p:nvPr/>
        </p:nvSpPr>
        <p:spPr>
          <a:xfrm>
            <a:off x="5202987" y="3901353"/>
            <a:ext cx="1951620" cy="3046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568" tIns="50270" rIns="100568" bIns="50270" anchor="t" anchorCtr="0">
            <a:spAutoFit/>
          </a:bodyPr>
          <a:lstStyle/>
          <a:p>
            <a:pPr algn="ctr" defTabSz="1005840">
              <a:defRPr/>
            </a:pPr>
            <a:endParaRPr sz="1320" b="1" kern="0">
              <a:solidFill>
                <a:srgbClr val="1F497D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578" name="Google Shape;578;p88"/>
          <p:cNvSpPr txBox="1"/>
          <p:nvPr/>
        </p:nvSpPr>
        <p:spPr>
          <a:xfrm>
            <a:off x="2945325" y="3901350"/>
            <a:ext cx="1828530" cy="3046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50270" rIns="100568" bIns="50270" anchor="t" anchorCtr="0">
            <a:spAutoFit/>
          </a:bodyPr>
          <a:lstStyle/>
          <a:p>
            <a:pPr algn="ctr" defTabSz="1005840">
              <a:defRPr/>
            </a:pPr>
            <a:endParaRPr sz="1320" b="1" kern="0">
              <a:solidFill>
                <a:srgbClr val="1F497D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pic>
        <p:nvPicPr>
          <p:cNvPr id="579" name="Google Shape;579;p88"/>
          <p:cNvPicPr preferRelativeResize="0"/>
          <p:nvPr/>
        </p:nvPicPr>
        <p:blipFill rotWithShape="1">
          <a:blip r:embed="rId8">
            <a:alphaModFix/>
          </a:blip>
          <a:srcRect r="80212"/>
          <a:stretch/>
        </p:blipFill>
        <p:spPr>
          <a:xfrm>
            <a:off x="3626845" y="4311560"/>
            <a:ext cx="394335" cy="459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80" name="Google Shape;580;p88"/>
          <p:cNvPicPr preferRelativeResize="0"/>
          <p:nvPr/>
        </p:nvPicPr>
        <p:blipFill rotWithShape="1">
          <a:blip r:embed="rId8">
            <a:alphaModFix/>
          </a:blip>
          <a:srcRect l="37406" t="4702" r="37698" b="483"/>
          <a:stretch/>
        </p:blipFill>
        <p:spPr>
          <a:xfrm>
            <a:off x="3575524" y="4738126"/>
            <a:ext cx="496978" cy="436808"/>
          </a:xfrm>
          <a:prstGeom prst="rect">
            <a:avLst/>
          </a:prstGeom>
          <a:noFill/>
          <a:ln>
            <a:noFill/>
          </a:ln>
        </p:spPr>
      </p:pic>
      <p:pic>
        <p:nvPicPr>
          <p:cNvPr id="581" name="Google Shape;581;p88" descr="AWS Certified Solutions Architect – Professional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3146572" y="5211970"/>
            <a:ext cx="366575" cy="366575"/>
          </a:xfrm>
          <a:prstGeom prst="rect">
            <a:avLst/>
          </a:prstGeom>
          <a:noFill/>
          <a:ln>
            <a:noFill/>
          </a:ln>
        </p:spPr>
      </p:pic>
      <p:pic>
        <p:nvPicPr>
          <p:cNvPr id="582" name="Google Shape;582;p88">
            <a:hlinkClick r:id="rId10"/>
          </p:cNvPr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4060446" y="4732719"/>
            <a:ext cx="455799" cy="455809"/>
          </a:xfrm>
          <a:prstGeom prst="rect">
            <a:avLst/>
          </a:prstGeom>
          <a:noFill/>
          <a:ln>
            <a:noFill/>
          </a:ln>
        </p:spPr>
      </p:pic>
      <p:pic>
        <p:nvPicPr>
          <p:cNvPr id="583" name="Google Shape;583;p88" descr="Certified SAFe® 4 Agilist"/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4116263" y="4367807"/>
            <a:ext cx="361670" cy="361670"/>
          </a:xfrm>
          <a:prstGeom prst="rect">
            <a:avLst/>
          </a:prstGeom>
          <a:noFill/>
          <a:ln>
            <a:noFill/>
          </a:ln>
        </p:spPr>
      </p:pic>
      <p:pic>
        <p:nvPicPr>
          <p:cNvPr id="584" name="Google Shape;584;p88" descr="Microsoft Certified: Azure Fundamentals"/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3149032" y="4770622"/>
            <a:ext cx="361670" cy="361670"/>
          </a:xfrm>
          <a:prstGeom prst="rect">
            <a:avLst/>
          </a:prstGeom>
          <a:noFill/>
          <a:ln>
            <a:noFill/>
          </a:ln>
        </p:spPr>
      </p:pic>
      <p:pic>
        <p:nvPicPr>
          <p:cNvPr id="585" name="Google Shape;585;p88" descr="Project Management Professional (PMP)®"/>
          <p:cNvPicPr preferRelativeResize="0"/>
          <p:nvPr/>
        </p:nvPicPr>
        <p:blipFill rotWithShape="1">
          <a:blip r:embed="rId14">
            <a:alphaModFix/>
          </a:blip>
          <a:srcRect/>
          <a:stretch/>
        </p:blipFill>
        <p:spPr>
          <a:xfrm>
            <a:off x="3140083" y="4383671"/>
            <a:ext cx="336353" cy="336353"/>
          </a:xfrm>
          <a:prstGeom prst="rect">
            <a:avLst/>
          </a:prstGeom>
          <a:noFill/>
          <a:ln>
            <a:noFill/>
          </a:ln>
        </p:spPr>
      </p:pic>
      <p:pic>
        <p:nvPicPr>
          <p:cNvPr id="586" name="Google Shape;586;p88" descr="CCNA"/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4047272" y="5191784"/>
            <a:ext cx="403495" cy="403495"/>
          </a:xfrm>
          <a:prstGeom prst="rect">
            <a:avLst/>
          </a:prstGeom>
          <a:noFill/>
          <a:ln>
            <a:noFill/>
          </a:ln>
        </p:spPr>
      </p:pic>
      <p:pic>
        <p:nvPicPr>
          <p:cNvPr id="587" name="Google Shape;587;p88" descr="Adobe Certified Associate in Visual Design Using Adobe Photoshop"/>
          <p:cNvPicPr preferRelativeResize="0"/>
          <p:nvPr/>
        </p:nvPicPr>
        <p:blipFill rotWithShape="1">
          <a:blip r:embed="rId16">
            <a:alphaModFix/>
          </a:blip>
          <a:srcRect/>
          <a:stretch/>
        </p:blipFill>
        <p:spPr>
          <a:xfrm>
            <a:off x="3646260" y="5222059"/>
            <a:ext cx="329317" cy="329317"/>
          </a:xfrm>
          <a:prstGeom prst="rect">
            <a:avLst/>
          </a:prstGeom>
          <a:noFill/>
          <a:ln>
            <a:noFill/>
          </a:ln>
        </p:spPr>
      </p:pic>
      <p:sp>
        <p:nvSpPr>
          <p:cNvPr id="588" name="Google Shape;588;p88"/>
          <p:cNvSpPr txBox="1"/>
          <p:nvPr/>
        </p:nvSpPr>
        <p:spPr>
          <a:xfrm>
            <a:off x="8237158" y="4090037"/>
            <a:ext cx="1226940" cy="507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50270" rIns="100568" bIns="50270" anchor="t" anchorCtr="0">
            <a:spAutoFit/>
          </a:bodyPr>
          <a:lstStyle/>
          <a:p>
            <a:pPr defTabSz="1005840">
              <a:defRPr/>
            </a:pPr>
            <a:r>
              <a:rPr lang="en" sz="1320" b="1" kern="0">
                <a:solidFill>
                  <a:srgbClr val="1F497D"/>
                </a:solidFill>
                <a:latin typeface="Proxima Nova"/>
                <a:ea typeface="Proxima Nova"/>
                <a:cs typeface="Proxima Nova"/>
                <a:sym typeface="Proxima Nova"/>
              </a:rPr>
              <a:t>Current Employer </a:t>
            </a:r>
            <a:endParaRPr sz="1320" b="1" kern="0">
              <a:solidFill>
                <a:srgbClr val="1F497D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589" name="Google Shape;589;p88"/>
          <p:cNvSpPr txBox="1"/>
          <p:nvPr/>
        </p:nvSpPr>
        <p:spPr>
          <a:xfrm>
            <a:off x="8242082" y="4708180"/>
            <a:ext cx="1226940" cy="507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50270" rIns="100568" bIns="50270" anchor="t" anchorCtr="0">
            <a:spAutoFit/>
          </a:bodyPr>
          <a:lstStyle/>
          <a:p>
            <a:pPr defTabSz="1005840">
              <a:defRPr/>
            </a:pPr>
            <a:r>
              <a:rPr lang="en" sz="1320" b="1" kern="0">
                <a:solidFill>
                  <a:srgbClr val="1F497D"/>
                </a:solidFill>
                <a:latin typeface="Proxima Nova"/>
                <a:ea typeface="Proxima Nova"/>
                <a:cs typeface="Proxima Nova"/>
                <a:sym typeface="Proxima Nova"/>
              </a:rPr>
              <a:t>Future Employer</a:t>
            </a:r>
            <a:endParaRPr sz="1320" b="1" kern="0">
              <a:solidFill>
                <a:srgbClr val="1F497D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590" name="Google Shape;590;p88"/>
          <p:cNvSpPr txBox="1"/>
          <p:nvPr/>
        </p:nvSpPr>
        <p:spPr>
          <a:xfrm>
            <a:off x="8237160" y="5326325"/>
            <a:ext cx="1226940" cy="507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50270" rIns="100568" bIns="50270" anchor="t" anchorCtr="0">
            <a:spAutoFit/>
          </a:bodyPr>
          <a:lstStyle/>
          <a:p>
            <a:pPr defTabSz="1005840">
              <a:defRPr/>
            </a:pPr>
            <a:r>
              <a:rPr lang="en" sz="1320" b="1" kern="0">
                <a:solidFill>
                  <a:srgbClr val="1F497D"/>
                </a:solidFill>
                <a:latin typeface="Proxima Nova"/>
                <a:ea typeface="Proxima Nova"/>
                <a:cs typeface="Proxima Nova"/>
                <a:sym typeface="Proxima Nova"/>
              </a:rPr>
              <a:t>Learning and </a:t>
            </a:r>
            <a:br>
              <a:rPr lang="en" sz="1320" b="1" kern="0">
                <a:solidFill>
                  <a:srgbClr val="1F497D"/>
                </a:solidFill>
                <a:latin typeface="Proxima Nova"/>
                <a:ea typeface="Proxima Nova"/>
                <a:cs typeface="Proxima Nova"/>
                <a:sym typeface="Proxima Nova"/>
              </a:rPr>
            </a:br>
            <a:r>
              <a:rPr lang="en" sz="1320" b="1" kern="0">
                <a:solidFill>
                  <a:srgbClr val="1F497D"/>
                </a:solidFill>
                <a:latin typeface="Proxima Nova"/>
                <a:ea typeface="Proxima Nova"/>
                <a:cs typeface="Proxima Nova"/>
                <a:sym typeface="Proxima Nova"/>
              </a:rPr>
              <a:t>Assessments</a:t>
            </a:r>
            <a:endParaRPr sz="1320" b="1" kern="0">
              <a:solidFill>
                <a:srgbClr val="1F497D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pic>
        <p:nvPicPr>
          <p:cNvPr id="591" name="Google Shape;591;p88"/>
          <p:cNvPicPr preferRelativeResize="0"/>
          <p:nvPr/>
        </p:nvPicPr>
        <p:blipFill>
          <a:blip r:embed="rId17">
            <a:alphaModFix/>
          </a:blip>
          <a:stretch>
            <a:fillRect/>
          </a:stretch>
        </p:blipFill>
        <p:spPr>
          <a:xfrm>
            <a:off x="7714804" y="4160693"/>
            <a:ext cx="366575" cy="366575"/>
          </a:xfrm>
          <a:prstGeom prst="rect">
            <a:avLst/>
          </a:prstGeom>
          <a:noFill/>
          <a:ln>
            <a:noFill/>
          </a:ln>
        </p:spPr>
      </p:pic>
      <p:pic>
        <p:nvPicPr>
          <p:cNvPr id="592" name="Google Shape;592;p88"/>
          <p:cNvPicPr preferRelativeResize="0"/>
          <p:nvPr/>
        </p:nvPicPr>
        <p:blipFill>
          <a:blip r:embed="rId18">
            <a:alphaModFix/>
          </a:blip>
          <a:stretch>
            <a:fillRect/>
          </a:stretch>
        </p:blipFill>
        <p:spPr>
          <a:xfrm>
            <a:off x="7717037" y="4781070"/>
            <a:ext cx="362102" cy="362102"/>
          </a:xfrm>
          <a:prstGeom prst="rect">
            <a:avLst/>
          </a:prstGeom>
          <a:noFill/>
          <a:ln>
            <a:noFill/>
          </a:ln>
        </p:spPr>
      </p:pic>
      <p:pic>
        <p:nvPicPr>
          <p:cNvPr id="593" name="Google Shape;593;p88"/>
          <p:cNvPicPr preferRelativeResize="0"/>
          <p:nvPr/>
        </p:nvPicPr>
        <p:blipFill>
          <a:blip r:embed="rId19">
            <a:alphaModFix/>
          </a:blip>
          <a:stretch>
            <a:fillRect/>
          </a:stretch>
        </p:blipFill>
        <p:spPr>
          <a:xfrm>
            <a:off x="7717037" y="5397002"/>
            <a:ext cx="362102" cy="36210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594" name="Google Shape;594;p88"/>
          <p:cNvCxnSpPr>
            <a:stCxn id="574" idx="3"/>
            <a:endCxn id="591" idx="1"/>
          </p:cNvCxnSpPr>
          <p:nvPr/>
        </p:nvCxnSpPr>
        <p:spPr>
          <a:xfrm rot="10800000" flipH="1">
            <a:off x="7063181" y="4343870"/>
            <a:ext cx="651750" cy="6105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95" name="Google Shape;595;p88"/>
          <p:cNvCxnSpPr>
            <a:stCxn id="574" idx="3"/>
            <a:endCxn id="592" idx="1"/>
          </p:cNvCxnSpPr>
          <p:nvPr/>
        </p:nvCxnSpPr>
        <p:spPr>
          <a:xfrm>
            <a:off x="7063181" y="4954370"/>
            <a:ext cx="653730" cy="759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96" name="Google Shape;596;p88"/>
          <p:cNvCxnSpPr>
            <a:stCxn id="574" idx="3"/>
            <a:endCxn id="593" idx="1"/>
          </p:cNvCxnSpPr>
          <p:nvPr/>
        </p:nvCxnSpPr>
        <p:spPr>
          <a:xfrm>
            <a:off x="7063181" y="4954370"/>
            <a:ext cx="653730" cy="62370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97" name="Google Shape;597;p88"/>
          <p:cNvCxnSpPr>
            <a:stCxn id="582" idx="3"/>
            <a:endCxn id="574" idx="1"/>
          </p:cNvCxnSpPr>
          <p:nvPr/>
        </p:nvCxnSpPr>
        <p:spPr>
          <a:xfrm rot="10800000" flipH="1">
            <a:off x="4516244" y="4954354"/>
            <a:ext cx="817080" cy="627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598" name="Google Shape;598;p88"/>
          <p:cNvCxnSpPr>
            <a:endCxn id="584" idx="1"/>
          </p:cNvCxnSpPr>
          <p:nvPr/>
        </p:nvCxnSpPr>
        <p:spPr>
          <a:xfrm>
            <a:off x="2526981" y="4951454"/>
            <a:ext cx="622050" cy="0"/>
          </a:xfrm>
          <a:prstGeom prst="straightConnector1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599" name="Google Shape;599;p88"/>
          <p:cNvSpPr/>
          <p:nvPr/>
        </p:nvSpPr>
        <p:spPr>
          <a:xfrm>
            <a:off x="0" y="6186823"/>
            <a:ext cx="1011120" cy="52833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00568" tIns="100568" rIns="100568" bIns="100568" anchor="ctr" anchorCtr="0">
            <a:noAutofit/>
          </a:bodyPr>
          <a:lstStyle/>
          <a:p>
            <a:pPr defTabSz="1005840">
              <a:defRPr/>
            </a:pPr>
            <a:endParaRPr sz="1980" kern="0">
              <a:solidFill>
                <a:sysClr val="windowText" lastClr="000000"/>
              </a:solidFill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C3C41BA-3A51-4E48-904A-F1F2932262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8224"/>
            <a:ext cx="8884920" cy="1218795"/>
          </a:xfrm>
        </p:spPr>
        <p:txBody>
          <a:bodyPr/>
          <a:lstStyle/>
          <a:p>
            <a:r>
              <a:rPr lang="en-GB" sz="3960" b="0" dirty="0">
                <a:latin typeface="+mj-lt"/>
              </a:rPr>
              <a:t>The GED® candidate experience: </a:t>
            </a:r>
            <a:br>
              <a:rPr lang="en-GB" sz="3960" b="0" dirty="0">
                <a:latin typeface="+mj-lt"/>
              </a:rPr>
            </a:br>
            <a:r>
              <a:rPr lang="en-GB" sz="3200" b="0" dirty="0">
                <a:latin typeface="+mj-lt"/>
              </a:rPr>
              <a:t>Badges earned by Passers are notified on GED</a:t>
            </a:r>
            <a:r>
              <a:rPr lang="en-GB" sz="3960" b="0" dirty="0">
                <a:latin typeface="+mj-lt"/>
              </a:rPr>
              <a:t>.com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3EF0E83-165A-4173-A922-3761228DD2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5067" y="1711059"/>
            <a:ext cx="7636934" cy="5259449"/>
          </a:xfrm>
          <a:prstGeom prst="rect">
            <a:avLst/>
          </a:prstGeom>
        </p:spPr>
      </p:pic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D16CEF4-0AFD-4C2F-B975-C15AEA4B894F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726440" y="7167288"/>
            <a:ext cx="3218688" cy="152349"/>
          </a:xfrm>
        </p:spPr>
        <p:txBody>
          <a:bodyPr/>
          <a:lstStyle/>
          <a:p>
            <a:pPr algn="l"/>
            <a:r>
              <a:rPr lang="en-GB" sz="990" dirty="0"/>
              <a:t>8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812A2D5-932D-4D3E-932C-3C193B127B44}"/>
              </a:ext>
            </a:extLst>
          </p:cNvPr>
          <p:cNvSpPr/>
          <p:nvPr/>
        </p:nvSpPr>
        <p:spPr>
          <a:xfrm>
            <a:off x="2682240" y="6233160"/>
            <a:ext cx="838200" cy="419101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980"/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3DC37BF0-263E-4F84-B61A-D4BAA4E9646D}"/>
              </a:ext>
            </a:extLst>
          </p:cNvPr>
          <p:cNvSpPr/>
          <p:nvPr/>
        </p:nvSpPr>
        <p:spPr>
          <a:xfrm>
            <a:off x="1592580" y="6233160"/>
            <a:ext cx="838200" cy="4191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980"/>
          </a:p>
        </p:txBody>
      </p:sp>
    </p:spTree>
    <p:extLst>
      <p:ext uri="{BB962C8B-B14F-4D97-AF65-F5344CB8AC3E}">
        <p14:creationId xmlns:p14="http://schemas.microsoft.com/office/powerpoint/2010/main" val="5845566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5A2AC23-18F4-471E-BF49-2CFB27EDC2D9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502920" y="6987540"/>
            <a:ext cx="3218688" cy="135422"/>
          </a:xfrm>
        </p:spPr>
        <p:txBody>
          <a:bodyPr/>
          <a:lstStyle/>
          <a:p>
            <a:pPr algn="l"/>
            <a:r>
              <a:rPr lang="en-GB" sz="880" dirty="0"/>
              <a:t>9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89676AC-8236-4B8F-B327-4E2F3CD6E6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43200" y="1314404"/>
            <a:ext cx="4679747" cy="622368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D24EC14-85E7-4120-AB38-10383EDC6344}"/>
              </a:ext>
            </a:extLst>
          </p:cNvPr>
          <p:cNvSpPr txBox="1"/>
          <p:nvPr/>
        </p:nvSpPr>
        <p:spPr>
          <a:xfrm>
            <a:off x="381000" y="381000"/>
            <a:ext cx="92964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60"/>
              </a:spcAft>
            </a:pPr>
            <a:r>
              <a:rPr lang="en-GB" sz="3200" dirty="0">
                <a:latin typeface="+mj-lt"/>
              </a:rPr>
              <a:t>… and notified via direct email to claim their badge:</a:t>
            </a:r>
          </a:p>
        </p:txBody>
      </p:sp>
    </p:spTree>
    <p:extLst>
      <p:ext uri="{BB962C8B-B14F-4D97-AF65-F5344CB8AC3E}">
        <p14:creationId xmlns:p14="http://schemas.microsoft.com/office/powerpoint/2010/main" val="40804793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ABA9A13-86F8-4D4B-F917-B32FDFCAF5D9}"/>
              </a:ext>
            </a:extLst>
          </p:cNvPr>
          <p:cNvSpPr txBox="1"/>
          <p:nvPr/>
        </p:nvSpPr>
        <p:spPr>
          <a:xfrm>
            <a:off x="1295400" y="2209800"/>
            <a:ext cx="75438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Do you know what the ‘World of Work’ is looking for in new hires …. And why?</a:t>
            </a:r>
          </a:p>
        </p:txBody>
      </p:sp>
    </p:spTree>
    <p:extLst>
      <p:ext uri="{BB962C8B-B14F-4D97-AF65-F5344CB8AC3E}">
        <p14:creationId xmlns:p14="http://schemas.microsoft.com/office/powerpoint/2010/main" val="14352313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289341-D6E3-4D08-9A45-1574B7065C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876" y="1295400"/>
            <a:ext cx="2588993" cy="1083374"/>
          </a:xfrm>
        </p:spPr>
        <p:txBody>
          <a:bodyPr wrap="square" lIns="0" tIns="0" rIns="0" bIns="0" anchor="t">
            <a:spAutoFit/>
          </a:bodyPr>
          <a:lstStyle/>
          <a:p>
            <a:r>
              <a:rPr lang="en-GB" sz="3520" dirty="0" err="1">
                <a:latin typeface="+mj-lt"/>
              </a:rPr>
              <a:t>Credly</a:t>
            </a:r>
            <a:r>
              <a:rPr lang="en-GB" sz="3520" dirty="0">
                <a:latin typeface="+mj-lt"/>
              </a:rPr>
              <a:t> Accoun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2F5366-12D4-4D6F-A555-B334EB3669BD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344594" y="7067353"/>
            <a:ext cx="3218688" cy="152349"/>
          </a:xfrm>
        </p:spPr>
        <p:txBody>
          <a:bodyPr/>
          <a:lstStyle/>
          <a:p>
            <a:pPr algn="l"/>
            <a:r>
              <a:rPr lang="en-GB" sz="990" dirty="0"/>
              <a:t>1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C006440-3924-4274-8A54-073DDD9EB8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7000" y="447935"/>
            <a:ext cx="5652519" cy="6617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09388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9C6446-0EEC-449E-9E1C-F6D649D9B6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534" y="365760"/>
            <a:ext cx="9860758" cy="553998"/>
          </a:xfrm>
        </p:spPr>
        <p:txBody>
          <a:bodyPr/>
          <a:lstStyle/>
          <a:p>
            <a:pPr algn="l"/>
            <a:r>
              <a:rPr lang="en-US" sz="3600" b="0" dirty="0"/>
              <a:t>Students connect directly to opportunities: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4570AC3-6146-4A2D-BB66-90748124D3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" y="1455421"/>
            <a:ext cx="6080214" cy="519683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68CA8A1-C336-44BB-831A-0635560258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02341" y="2340237"/>
            <a:ext cx="4956060" cy="651400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BA2EDD20-D071-477D-9AC6-5C16D014DA67}"/>
              </a:ext>
            </a:extLst>
          </p:cNvPr>
          <p:cNvSpPr/>
          <p:nvPr/>
        </p:nvSpPr>
        <p:spPr>
          <a:xfrm>
            <a:off x="1676400" y="4221480"/>
            <a:ext cx="1005840" cy="335280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5840">
              <a:defRPr/>
            </a:pPr>
            <a:endParaRPr lang="en-US" sz="1980" kern="0">
              <a:solidFill>
                <a:prstClr val="white"/>
              </a:solidFill>
              <a:latin typeface="Calibri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6FDBC25-1BF8-4C27-86DA-F47F45EC9631}"/>
              </a:ext>
            </a:extLst>
          </p:cNvPr>
          <p:cNvCxnSpPr>
            <a:cxnSpLocks/>
          </p:cNvCxnSpPr>
          <p:nvPr/>
        </p:nvCxnSpPr>
        <p:spPr>
          <a:xfrm flipV="1">
            <a:off x="2682240" y="2796540"/>
            <a:ext cx="2682240" cy="14249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2AE20A3F-121C-4662-8285-7D48F6D179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36620" y="5217974"/>
            <a:ext cx="4442460" cy="2310989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D42FCD5B-6E62-4673-B39A-EA5E28C822E0}"/>
              </a:ext>
            </a:extLst>
          </p:cNvPr>
          <p:cNvCxnSpPr/>
          <p:nvPr/>
        </p:nvCxnSpPr>
        <p:spPr>
          <a:xfrm flipH="1">
            <a:off x="7208520" y="3233627"/>
            <a:ext cx="838200" cy="21613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29283851-1156-B0C0-B9D8-4923E6F00784}"/>
              </a:ext>
            </a:extLst>
          </p:cNvPr>
          <p:cNvSpPr txBox="1"/>
          <p:nvPr/>
        </p:nvSpPr>
        <p:spPr>
          <a:xfrm>
            <a:off x="6608680" y="1269364"/>
            <a:ext cx="3162469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/>
              <a:t>Employment</a:t>
            </a:r>
          </a:p>
        </p:txBody>
      </p:sp>
    </p:spTree>
    <p:extLst>
      <p:ext uri="{BB962C8B-B14F-4D97-AF65-F5344CB8AC3E}">
        <p14:creationId xmlns:p14="http://schemas.microsoft.com/office/powerpoint/2010/main" val="55407158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9273CAF-95E0-4728-81B0-D1C5B9F292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437032"/>
            <a:ext cx="6097431" cy="561594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059E276-AEEE-4EBB-806C-03A6F61EC1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93920" y="2872031"/>
            <a:ext cx="5442421" cy="4534609"/>
          </a:xfrm>
          <a:prstGeom prst="rect">
            <a:avLst/>
          </a:prstGeom>
        </p:spPr>
      </p:pic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D42FCD5B-6E62-4673-B39A-EA5E28C822E0}"/>
              </a:ext>
            </a:extLst>
          </p:cNvPr>
          <p:cNvCxnSpPr>
            <a:cxnSpLocks/>
          </p:cNvCxnSpPr>
          <p:nvPr/>
        </p:nvCxnSpPr>
        <p:spPr>
          <a:xfrm>
            <a:off x="5783580" y="2628900"/>
            <a:ext cx="2011680" cy="419100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>
            <a:extLst>
              <a:ext uri="{FF2B5EF4-FFF2-40B4-BE49-F238E27FC236}">
                <a16:creationId xmlns:a16="http://schemas.microsoft.com/office/drawing/2014/main" id="{F4EE9120-6DEC-6A05-3AD0-D8155732E859}"/>
              </a:ext>
            </a:extLst>
          </p:cNvPr>
          <p:cNvSpPr txBox="1">
            <a:spLocks/>
          </p:cNvSpPr>
          <p:nvPr/>
        </p:nvSpPr>
        <p:spPr>
          <a:xfrm>
            <a:off x="381000" y="306424"/>
            <a:ext cx="9860758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50" b="1" i="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/>
            <a:r>
              <a:rPr lang="en-US" sz="3600" b="0" kern="0" dirty="0"/>
              <a:t>Students connect directly to opportunities: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5ED897E-504B-A695-8350-628862DEB5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0" y="1393422"/>
            <a:ext cx="2707112" cy="677108"/>
          </a:xfrm>
        </p:spPr>
        <p:txBody>
          <a:bodyPr/>
          <a:lstStyle/>
          <a:p>
            <a:r>
              <a:rPr lang="en-US" sz="4400" dirty="0"/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14191924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4570AC3-6146-4A2D-BB66-90748124D3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" y="1455421"/>
            <a:ext cx="6080214" cy="519683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3CD7FDB-6B78-4B33-B21B-D3E5A5949D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36620" y="3674003"/>
            <a:ext cx="6621780" cy="3984097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D42FCD5B-6E62-4673-B39A-EA5E28C822E0}"/>
              </a:ext>
            </a:extLst>
          </p:cNvPr>
          <p:cNvCxnSpPr>
            <a:cxnSpLocks/>
          </p:cNvCxnSpPr>
          <p:nvPr/>
        </p:nvCxnSpPr>
        <p:spPr>
          <a:xfrm>
            <a:off x="5364480" y="1824228"/>
            <a:ext cx="922020" cy="27325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52AF765D-9FBA-9B09-A772-1084C7766601}"/>
              </a:ext>
            </a:extLst>
          </p:cNvPr>
          <p:cNvSpPr txBox="1"/>
          <p:nvPr/>
        </p:nvSpPr>
        <p:spPr>
          <a:xfrm>
            <a:off x="6476856" y="1333095"/>
            <a:ext cx="3429144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/>
              <a:t>Self-advocate</a:t>
            </a:r>
            <a:br>
              <a:rPr lang="en-US" sz="4400" b="1" dirty="0"/>
            </a:br>
            <a:r>
              <a:rPr lang="en-US" sz="4400" b="1" dirty="0"/>
              <a:t>Social Sharing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6E52205-BE4D-10BF-8FBF-E3467CB9086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81000" y="345343"/>
            <a:ext cx="906780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50" b="1" i="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/>
            <a:r>
              <a:rPr lang="en-US" sz="3600" b="0" kern="0" dirty="0"/>
              <a:t>Students connect directly to opportunities:</a:t>
            </a:r>
          </a:p>
        </p:txBody>
      </p:sp>
    </p:spTree>
    <p:extLst>
      <p:ext uri="{BB962C8B-B14F-4D97-AF65-F5344CB8AC3E}">
        <p14:creationId xmlns:p14="http://schemas.microsoft.com/office/powerpoint/2010/main" val="160734784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5" name="Google Shape;455;p80"/>
          <p:cNvSpPr/>
          <p:nvPr/>
        </p:nvSpPr>
        <p:spPr>
          <a:xfrm>
            <a:off x="-57530" y="1028538"/>
            <a:ext cx="1160280" cy="1148400"/>
          </a:xfrm>
          <a:prstGeom prst="rect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0568" tIns="100568" rIns="100568" bIns="100568" anchor="ctr" anchorCtr="0">
            <a:noAutofit/>
          </a:bodyPr>
          <a:lstStyle/>
          <a:p>
            <a:pPr defTabSz="1005840">
              <a:defRPr/>
            </a:pPr>
            <a:endParaRPr sz="1980" kern="0">
              <a:solidFill>
                <a:sysClr val="windowText" lastClr="000000"/>
              </a:solidFill>
            </a:endParaRPr>
          </a:p>
        </p:txBody>
      </p:sp>
      <p:sp>
        <p:nvSpPr>
          <p:cNvPr id="456" name="Google Shape;456;p80"/>
          <p:cNvSpPr/>
          <p:nvPr/>
        </p:nvSpPr>
        <p:spPr>
          <a:xfrm>
            <a:off x="-57530" y="1028510"/>
            <a:ext cx="10174560" cy="1148400"/>
          </a:xfrm>
          <a:prstGeom prst="rect">
            <a:avLst/>
          </a:prstGeom>
          <a:noFill/>
          <a:ln w="19050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0568" tIns="100568" rIns="100568" bIns="100568" anchor="ctr" anchorCtr="0">
            <a:noAutofit/>
          </a:bodyPr>
          <a:lstStyle/>
          <a:p>
            <a:pPr defTabSz="1005840">
              <a:defRPr/>
            </a:pPr>
            <a:endParaRPr sz="1980" kern="0">
              <a:solidFill>
                <a:sysClr val="windowText" lastClr="000000"/>
              </a:solidFill>
            </a:endParaRPr>
          </a:p>
        </p:txBody>
      </p:sp>
      <p:sp>
        <p:nvSpPr>
          <p:cNvPr id="458" name="Google Shape;458;p80"/>
          <p:cNvSpPr/>
          <p:nvPr/>
        </p:nvSpPr>
        <p:spPr>
          <a:xfrm>
            <a:off x="1086283" y="2522640"/>
            <a:ext cx="4038870" cy="1488960"/>
          </a:xfrm>
          <a:prstGeom prst="roundRect">
            <a:avLst>
              <a:gd name="adj" fmla="val 5483"/>
            </a:avLst>
          </a:prstGeom>
          <a:solidFill>
            <a:srgbClr val="FFFFFF"/>
          </a:solidFill>
          <a:ln w="28575" cap="flat" cmpd="sng">
            <a:solidFill>
              <a:srgbClr val="F3F3F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0568" tIns="100568" rIns="100568" bIns="100568" anchor="ctr" anchorCtr="0">
            <a:noAutofit/>
          </a:bodyPr>
          <a:lstStyle/>
          <a:p>
            <a:pPr defTabSz="1005840">
              <a:defRPr/>
            </a:pPr>
            <a:endParaRPr sz="1980" kern="0">
              <a:solidFill>
                <a:sysClr val="windowText" lastClr="000000"/>
              </a:solidFill>
            </a:endParaRPr>
          </a:p>
        </p:txBody>
      </p:sp>
      <p:sp>
        <p:nvSpPr>
          <p:cNvPr id="459" name="Google Shape;459;p80"/>
          <p:cNvSpPr/>
          <p:nvPr/>
        </p:nvSpPr>
        <p:spPr>
          <a:xfrm>
            <a:off x="5582497" y="2522640"/>
            <a:ext cx="4043490" cy="1488960"/>
          </a:xfrm>
          <a:prstGeom prst="roundRect">
            <a:avLst>
              <a:gd name="adj" fmla="val 5483"/>
            </a:avLst>
          </a:prstGeom>
          <a:solidFill>
            <a:srgbClr val="FFFFFF"/>
          </a:solidFill>
          <a:ln w="28575" cap="flat" cmpd="sng">
            <a:solidFill>
              <a:srgbClr val="F3F3F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0568" tIns="100568" rIns="100568" bIns="100568" anchor="ctr" anchorCtr="0">
            <a:noAutofit/>
          </a:bodyPr>
          <a:lstStyle/>
          <a:p>
            <a:pPr defTabSz="1005840">
              <a:defRPr/>
            </a:pPr>
            <a:endParaRPr sz="1980" kern="0">
              <a:solidFill>
                <a:sysClr val="windowText" lastClr="000000"/>
              </a:solidFill>
            </a:endParaRPr>
          </a:p>
        </p:txBody>
      </p:sp>
      <p:sp>
        <p:nvSpPr>
          <p:cNvPr id="460" name="Google Shape;460;p80"/>
          <p:cNvSpPr/>
          <p:nvPr/>
        </p:nvSpPr>
        <p:spPr>
          <a:xfrm>
            <a:off x="5582500" y="4431195"/>
            <a:ext cx="4043490" cy="1488630"/>
          </a:xfrm>
          <a:prstGeom prst="roundRect">
            <a:avLst>
              <a:gd name="adj" fmla="val 5483"/>
            </a:avLst>
          </a:prstGeom>
          <a:solidFill>
            <a:srgbClr val="FFFFFF"/>
          </a:solidFill>
          <a:ln w="28575" cap="flat" cmpd="sng">
            <a:solidFill>
              <a:srgbClr val="F3F3F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0568" tIns="100568" rIns="100568" bIns="100568" anchor="ctr" anchorCtr="0">
            <a:noAutofit/>
          </a:bodyPr>
          <a:lstStyle/>
          <a:p>
            <a:pPr defTabSz="1005840">
              <a:defRPr/>
            </a:pPr>
            <a:endParaRPr sz="1980" kern="0">
              <a:solidFill>
                <a:sysClr val="windowText" lastClr="000000"/>
              </a:solidFill>
            </a:endParaRPr>
          </a:p>
        </p:txBody>
      </p:sp>
      <p:sp>
        <p:nvSpPr>
          <p:cNvPr id="461" name="Google Shape;461;p80"/>
          <p:cNvSpPr/>
          <p:nvPr/>
        </p:nvSpPr>
        <p:spPr>
          <a:xfrm>
            <a:off x="1086195" y="4431195"/>
            <a:ext cx="4038870" cy="1488960"/>
          </a:xfrm>
          <a:prstGeom prst="roundRect">
            <a:avLst>
              <a:gd name="adj" fmla="val 5483"/>
            </a:avLst>
          </a:prstGeom>
          <a:solidFill>
            <a:srgbClr val="FFFFFF"/>
          </a:solidFill>
          <a:ln w="28575" cap="flat" cmpd="sng">
            <a:solidFill>
              <a:srgbClr val="F3F3F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0568" tIns="100568" rIns="100568" bIns="100568" anchor="ctr" anchorCtr="0">
            <a:noAutofit/>
          </a:bodyPr>
          <a:lstStyle/>
          <a:p>
            <a:pPr defTabSz="1005840">
              <a:defRPr/>
            </a:pPr>
            <a:endParaRPr sz="1980" kern="0">
              <a:solidFill>
                <a:sysClr val="windowText" lastClr="000000"/>
              </a:solidFill>
            </a:endParaRPr>
          </a:p>
        </p:txBody>
      </p:sp>
      <p:sp>
        <p:nvSpPr>
          <p:cNvPr id="462" name="Google Shape;462;p80"/>
          <p:cNvSpPr txBox="1"/>
          <p:nvPr/>
        </p:nvSpPr>
        <p:spPr>
          <a:xfrm>
            <a:off x="2175608" y="2557689"/>
            <a:ext cx="3031050" cy="1488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568" tIns="100568" rIns="100568" bIns="100568" anchor="ctr" anchorCtr="0">
            <a:noAutofit/>
          </a:bodyPr>
          <a:lstStyle/>
          <a:p>
            <a:pPr marL="100584" marR="100584" defTabSz="1005840">
              <a:defRPr/>
            </a:pPr>
            <a:r>
              <a:rPr lang="en" sz="1870" kern="0">
                <a:solidFill>
                  <a:srgbClr val="9BBB59"/>
                </a:solidFill>
                <a:latin typeface="Source Serif Pro"/>
                <a:ea typeface="Source Serif Pro"/>
                <a:cs typeface="Source Serif Pro"/>
                <a:sym typeface="Source Serif Pro"/>
              </a:rPr>
              <a:t>Add market value to programs</a:t>
            </a:r>
            <a:endParaRPr sz="1870" kern="0">
              <a:solidFill>
                <a:srgbClr val="9BBB59"/>
              </a:solidFill>
              <a:latin typeface="Source Serif Pro"/>
              <a:ea typeface="Source Serif Pro"/>
              <a:cs typeface="Source Serif Pro"/>
              <a:sym typeface="Source Serif Pro"/>
            </a:endParaRPr>
          </a:p>
          <a:p>
            <a:pPr marL="502920" indent="-328295" defTabSz="1005840">
              <a:spcBef>
                <a:spcPts val="1100"/>
              </a:spcBef>
              <a:buClr>
                <a:srgbClr val="1F497D"/>
              </a:buClr>
              <a:buSzPts val="1100"/>
              <a:buFont typeface="Proxima Nova"/>
              <a:buChar char="❏"/>
              <a:defRPr/>
            </a:pPr>
            <a:r>
              <a:rPr lang="en" sz="1210" kern="0">
                <a:solidFill>
                  <a:srgbClr val="1F497D"/>
                </a:solidFill>
                <a:latin typeface="Proxima Nova"/>
                <a:ea typeface="Proxima Nova"/>
                <a:cs typeface="Proxima Nova"/>
                <a:sym typeface="Proxima Nova"/>
              </a:rPr>
              <a:t>Translate learning outcomes to skills</a:t>
            </a:r>
            <a:endParaRPr sz="1210" kern="0">
              <a:solidFill>
                <a:srgbClr val="1F497D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502920" indent="-328295" defTabSz="1005840">
              <a:buClr>
                <a:srgbClr val="1F497D"/>
              </a:buClr>
              <a:buSzPts val="1100"/>
              <a:buFont typeface="Proxima Nova"/>
              <a:buChar char="❏"/>
              <a:defRPr/>
            </a:pPr>
            <a:r>
              <a:rPr lang="en" sz="1210" kern="0">
                <a:solidFill>
                  <a:srgbClr val="1F497D"/>
                </a:solidFill>
                <a:latin typeface="Proxima Nova"/>
                <a:ea typeface="Proxima Nova"/>
                <a:cs typeface="Proxima Nova"/>
                <a:sym typeface="Proxima Nova"/>
              </a:rPr>
              <a:t>Engage &amp; recognize industry and employer partners</a:t>
            </a:r>
            <a:endParaRPr sz="1210" kern="0">
              <a:solidFill>
                <a:srgbClr val="9BBB59"/>
              </a:solidFill>
              <a:latin typeface="Source Serif Pro"/>
              <a:ea typeface="Source Serif Pro"/>
              <a:cs typeface="Source Serif Pro"/>
              <a:sym typeface="Source Serif Pro"/>
            </a:endParaRPr>
          </a:p>
        </p:txBody>
      </p:sp>
      <p:pic>
        <p:nvPicPr>
          <p:cNvPr id="463" name="Google Shape;463;p80">
            <a:hlinkClick r:id="rId3"/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239424" y="2835319"/>
            <a:ext cx="936184" cy="936209"/>
          </a:xfrm>
          <a:prstGeom prst="rect">
            <a:avLst/>
          </a:prstGeom>
          <a:noFill/>
          <a:ln>
            <a:noFill/>
          </a:ln>
        </p:spPr>
      </p:pic>
      <p:pic>
        <p:nvPicPr>
          <p:cNvPr id="464" name="Google Shape;464;p80">
            <a:hlinkClick r:id="rId5"/>
          </p:cNvPr>
          <p:cNvPicPr preferRelativeResize="0"/>
          <p:nvPr/>
        </p:nvPicPr>
        <p:blipFill rotWithShape="1">
          <a:blip r:embed="rId6">
            <a:alphaModFix/>
          </a:blip>
          <a:srcRect t="79" b="69"/>
          <a:stretch/>
        </p:blipFill>
        <p:spPr>
          <a:xfrm>
            <a:off x="5854530" y="2841023"/>
            <a:ext cx="849937" cy="848631"/>
          </a:xfrm>
          <a:prstGeom prst="rect">
            <a:avLst/>
          </a:prstGeom>
          <a:noFill/>
          <a:ln>
            <a:noFill/>
          </a:ln>
        </p:spPr>
      </p:pic>
      <p:pic>
        <p:nvPicPr>
          <p:cNvPr id="465" name="Google Shape;465;p80">
            <a:hlinkClick r:id="rId7"/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17211" y="4674494"/>
            <a:ext cx="983107" cy="983113"/>
          </a:xfrm>
          <a:prstGeom prst="rect">
            <a:avLst/>
          </a:prstGeom>
          <a:noFill/>
          <a:ln>
            <a:noFill/>
          </a:ln>
        </p:spPr>
      </p:pic>
      <p:sp>
        <p:nvSpPr>
          <p:cNvPr id="467" name="Google Shape;467;p80"/>
          <p:cNvSpPr txBox="1">
            <a:spLocks noGrp="1"/>
          </p:cNvSpPr>
          <p:nvPr>
            <p:ph type="title"/>
          </p:nvPr>
        </p:nvSpPr>
        <p:spPr>
          <a:xfrm>
            <a:off x="742005" y="352670"/>
            <a:ext cx="8574390" cy="626340"/>
          </a:xfrm>
          <a:prstGeom prst="rect">
            <a:avLst/>
          </a:prstGeom>
        </p:spPr>
        <p:txBody>
          <a:bodyPr spcFirstLastPara="1" wrap="square" lIns="100568" tIns="100568" rIns="100568" bIns="100568" anchor="t" anchorCtr="0">
            <a:noAutofit/>
          </a:bodyPr>
          <a:lstStyle/>
          <a:p>
            <a:pPr algn="l"/>
            <a:r>
              <a:rPr lang="en" dirty="0" err="1"/>
              <a:t>Credly</a:t>
            </a:r>
            <a:r>
              <a:rPr lang="en" dirty="0"/>
              <a:t> Acclaim digital credential platform benefits</a:t>
            </a:r>
            <a:endParaRPr dirty="0"/>
          </a:p>
        </p:txBody>
      </p:sp>
      <p:sp>
        <p:nvSpPr>
          <p:cNvPr id="468" name="Google Shape;468;p80"/>
          <p:cNvSpPr txBox="1"/>
          <p:nvPr/>
        </p:nvSpPr>
        <p:spPr>
          <a:xfrm>
            <a:off x="6820990" y="2555173"/>
            <a:ext cx="2949540" cy="1488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568" tIns="100568" rIns="100568" bIns="100568" anchor="ctr" anchorCtr="0">
            <a:noAutofit/>
          </a:bodyPr>
          <a:lstStyle/>
          <a:p>
            <a:pPr marL="100584" marR="100584" defTabSz="1005840">
              <a:defRPr/>
            </a:pPr>
            <a:r>
              <a:rPr lang="en" sz="1870" kern="0">
                <a:solidFill>
                  <a:srgbClr val="9BBB59"/>
                </a:solidFill>
                <a:latin typeface="Source Serif Pro"/>
                <a:ea typeface="Source Serif Pro"/>
                <a:cs typeface="Source Serif Pro"/>
                <a:sym typeface="Source Serif Pro"/>
              </a:rPr>
              <a:t>Increase demand for programs &amp; certificates</a:t>
            </a:r>
            <a:endParaRPr sz="1870" kern="0">
              <a:solidFill>
                <a:srgbClr val="9BBB59"/>
              </a:solidFill>
              <a:latin typeface="Source Serif Pro"/>
              <a:ea typeface="Source Serif Pro"/>
              <a:cs typeface="Source Serif Pro"/>
              <a:sym typeface="Source Serif Pro"/>
            </a:endParaRPr>
          </a:p>
          <a:p>
            <a:pPr marL="125730" indent="-139700" defTabSz="1005840">
              <a:spcBef>
                <a:spcPts val="1100"/>
              </a:spcBef>
              <a:buClr>
                <a:srgbClr val="1F497D"/>
              </a:buClr>
              <a:buSzPts val="1100"/>
              <a:buFont typeface="Proxima Nova"/>
              <a:buChar char="□"/>
              <a:defRPr/>
            </a:pPr>
            <a:r>
              <a:rPr lang="en" sz="1210" kern="0">
                <a:solidFill>
                  <a:srgbClr val="1F497D"/>
                </a:solidFill>
                <a:latin typeface="Proxima Nova"/>
                <a:ea typeface="Proxima Nova"/>
                <a:cs typeface="Proxima Nova"/>
                <a:sym typeface="Proxima Nova"/>
              </a:rPr>
              <a:t>Increase enrollment and revenue</a:t>
            </a:r>
            <a:endParaRPr sz="1210" kern="0">
              <a:solidFill>
                <a:srgbClr val="1F497D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125730" indent="-139700" defTabSz="1005840">
              <a:buClr>
                <a:srgbClr val="1F497D"/>
              </a:buClr>
              <a:buSzPts val="1100"/>
              <a:buFont typeface="Proxima Nova"/>
              <a:buChar char="□"/>
              <a:defRPr/>
            </a:pPr>
            <a:r>
              <a:rPr lang="en" sz="1210" kern="0">
                <a:solidFill>
                  <a:srgbClr val="1F497D"/>
                </a:solidFill>
                <a:latin typeface="Proxima Nova"/>
                <a:ea typeface="Proxima Nova"/>
                <a:cs typeface="Proxima Nova"/>
                <a:sym typeface="Proxima Nova"/>
              </a:rPr>
              <a:t>Drive program completions</a:t>
            </a:r>
            <a:endParaRPr sz="1210" kern="0">
              <a:solidFill>
                <a:srgbClr val="1F497D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125730" indent="-139700" defTabSz="1005840">
              <a:buClr>
                <a:srgbClr val="1F497D"/>
              </a:buClr>
              <a:buSzPts val="1100"/>
              <a:buFont typeface="Proxima Nova"/>
              <a:buChar char="□"/>
              <a:defRPr/>
            </a:pPr>
            <a:r>
              <a:rPr lang="en" sz="1210" kern="0">
                <a:solidFill>
                  <a:srgbClr val="1F497D"/>
                </a:solidFill>
                <a:latin typeface="Proxima Nova"/>
                <a:ea typeface="Proxima Nova"/>
                <a:cs typeface="Proxima Nova"/>
                <a:sym typeface="Proxima Nova"/>
              </a:rPr>
              <a:t>Increase persistence to next courses</a:t>
            </a:r>
            <a:endParaRPr sz="1210" kern="0">
              <a:solidFill>
                <a:srgbClr val="1F497D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469" name="Google Shape;469;p80"/>
          <p:cNvSpPr txBox="1"/>
          <p:nvPr/>
        </p:nvSpPr>
        <p:spPr>
          <a:xfrm>
            <a:off x="2175608" y="4497030"/>
            <a:ext cx="2949540" cy="1488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568" tIns="100568" rIns="100568" bIns="100568" anchor="ctr" anchorCtr="0">
            <a:noAutofit/>
          </a:bodyPr>
          <a:lstStyle/>
          <a:p>
            <a:pPr marL="100584" marR="100584" defTabSz="1005840">
              <a:defRPr/>
            </a:pPr>
            <a:r>
              <a:rPr lang="en" sz="1870" kern="0">
                <a:solidFill>
                  <a:srgbClr val="9BBB59"/>
                </a:solidFill>
                <a:latin typeface="Source Serif Pro"/>
                <a:ea typeface="Source Serif Pro"/>
                <a:cs typeface="Source Serif Pro"/>
                <a:sym typeface="Source Serif Pro"/>
              </a:rPr>
              <a:t>Connect earners with opportunities</a:t>
            </a:r>
            <a:endParaRPr sz="1870" kern="0">
              <a:solidFill>
                <a:srgbClr val="9BBB59"/>
              </a:solidFill>
              <a:latin typeface="Source Serif Pro"/>
              <a:ea typeface="Source Serif Pro"/>
              <a:cs typeface="Source Serif Pro"/>
              <a:sym typeface="Source Serif Pro"/>
            </a:endParaRPr>
          </a:p>
          <a:p>
            <a:pPr marL="502920" indent="-328295" defTabSz="1005840">
              <a:spcBef>
                <a:spcPts val="1100"/>
              </a:spcBef>
              <a:buClr>
                <a:srgbClr val="1F497D"/>
              </a:buClr>
              <a:buSzPts val="1100"/>
              <a:buFont typeface="Proxima Nova"/>
              <a:buChar char="❏"/>
              <a:defRPr/>
            </a:pPr>
            <a:r>
              <a:rPr lang="en" sz="1210" kern="0">
                <a:solidFill>
                  <a:srgbClr val="1F497D"/>
                </a:solidFill>
                <a:latin typeface="Proxima Nova"/>
                <a:ea typeface="Proxima Nova"/>
                <a:cs typeface="Proxima Nova"/>
                <a:sym typeface="Proxima Nova"/>
              </a:rPr>
              <a:t>Highlight skills-in-demand</a:t>
            </a:r>
            <a:endParaRPr sz="1210" kern="0">
              <a:solidFill>
                <a:srgbClr val="1F497D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502920" indent="-328295" defTabSz="1005840">
              <a:buClr>
                <a:srgbClr val="1F497D"/>
              </a:buClr>
              <a:buSzPts val="1100"/>
              <a:buFont typeface="Proxima Nova"/>
              <a:buChar char="❏"/>
              <a:defRPr/>
            </a:pPr>
            <a:r>
              <a:rPr lang="en" sz="1210" kern="0">
                <a:solidFill>
                  <a:srgbClr val="1F497D"/>
                </a:solidFill>
                <a:latin typeface="Proxima Nova"/>
                <a:ea typeface="Proxima Nova"/>
                <a:cs typeface="Proxima Nova"/>
                <a:sym typeface="Proxima Nova"/>
              </a:rPr>
              <a:t>Reinforce market relevance</a:t>
            </a:r>
            <a:endParaRPr sz="1210" kern="0">
              <a:solidFill>
                <a:srgbClr val="1F497D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502920" indent="-328295" defTabSz="1005840">
              <a:buClr>
                <a:srgbClr val="1F497D"/>
              </a:buClr>
              <a:buSzPts val="1100"/>
              <a:buFont typeface="Proxima Nova"/>
              <a:buChar char="❏"/>
              <a:defRPr/>
            </a:pPr>
            <a:r>
              <a:rPr lang="en" sz="1210" kern="0">
                <a:solidFill>
                  <a:srgbClr val="1F497D"/>
                </a:solidFill>
                <a:latin typeface="Proxima Nova"/>
                <a:ea typeface="Proxima Nova"/>
                <a:cs typeface="Proxima Nova"/>
                <a:sym typeface="Proxima Nova"/>
              </a:rPr>
              <a:t>Link to Labor Market Insights and jobs</a:t>
            </a:r>
            <a:endParaRPr sz="1210" kern="0">
              <a:solidFill>
                <a:srgbClr val="1F497D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sp>
        <p:nvSpPr>
          <p:cNvPr id="470" name="Google Shape;470;p80"/>
          <p:cNvSpPr txBox="1"/>
          <p:nvPr/>
        </p:nvSpPr>
        <p:spPr>
          <a:xfrm>
            <a:off x="6997320" y="4497030"/>
            <a:ext cx="2805000" cy="1488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0568" tIns="100568" rIns="100568" bIns="100568" anchor="ctr" anchorCtr="0">
            <a:noAutofit/>
          </a:bodyPr>
          <a:lstStyle/>
          <a:p>
            <a:pPr marL="100584" marR="100584" defTabSz="1005840">
              <a:defRPr/>
            </a:pPr>
            <a:r>
              <a:rPr lang="en" sz="1870" kern="0">
                <a:solidFill>
                  <a:srgbClr val="9BBB59"/>
                </a:solidFill>
                <a:latin typeface="Source Serif Pro"/>
                <a:ea typeface="Source Serif Pro"/>
                <a:cs typeface="Source Serif Pro"/>
                <a:sym typeface="Source Serif Pro"/>
              </a:rPr>
              <a:t>Build brand identity</a:t>
            </a:r>
            <a:endParaRPr sz="1870" kern="0">
              <a:solidFill>
                <a:srgbClr val="9BBB59"/>
              </a:solidFill>
              <a:latin typeface="Source Serif Pro"/>
              <a:ea typeface="Source Serif Pro"/>
              <a:cs typeface="Source Serif Pro"/>
              <a:sym typeface="Source Serif Pro"/>
            </a:endParaRPr>
          </a:p>
          <a:p>
            <a:pPr marL="502920" indent="-328295" defTabSz="1005840">
              <a:spcBef>
                <a:spcPts val="1100"/>
              </a:spcBef>
              <a:buClr>
                <a:srgbClr val="1F497D"/>
              </a:buClr>
              <a:buSzPts val="1100"/>
              <a:buFont typeface="Proxima Nova"/>
              <a:buChar char="❏"/>
              <a:defRPr/>
            </a:pPr>
            <a:r>
              <a:rPr lang="en" sz="1210" kern="0">
                <a:solidFill>
                  <a:srgbClr val="1F497D"/>
                </a:solidFill>
                <a:latin typeface="Proxima Nova"/>
                <a:ea typeface="Proxima Nova"/>
                <a:cs typeface="Proxima Nova"/>
                <a:sym typeface="Proxima Nova"/>
              </a:rPr>
              <a:t>Reduce credential  misrepresentation</a:t>
            </a:r>
            <a:endParaRPr sz="1210" kern="0">
              <a:solidFill>
                <a:srgbClr val="1F497D"/>
              </a:solidFill>
              <a:latin typeface="Proxima Nova"/>
              <a:ea typeface="Proxima Nova"/>
              <a:cs typeface="Proxima Nova"/>
              <a:sym typeface="Proxima Nova"/>
            </a:endParaRPr>
          </a:p>
          <a:p>
            <a:pPr marL="502920" indent="-328295" defTabSz="1005840">
              <a:buClr>
                <a:srgbClr val="1F497D"/>
              </a:buClr>
              <a:buSzPts val="1100"/>
              <a:buFont typeface="Proxima Nova"/>
              <a:buChar char="❏"/>
              <a:defRPr/>
            </a:pPr>
            <a:r>
              <a:rPr lang="en" sz="1210" kern="0">
                <a:solidFill>
                  <a:srgbClr val="1F497D"/>
                </a:solidFill>
                <a:latin typeface="Proxima Nova"/>
                <a:ea typeface="Proxima Nova"/>
                <a:cs typeface="Proxima Nova"/>
                <a:sym typeface="Proxima Nova"/>
              </a:rPr>
              <a:t>Increase SEO brand impressions with every share/view/click</a:t>
            </a:r>
            <a:endParaRPr sz="1210" kern="0">
              <a:solidFill>
                <a:srgbClr val="1F497D"/>
              </a:solidFill>
              <a:latin typeface="Proxima Nova"/>
              <a:ea typeface="Proxima Nova"/>
              <a:cs typeface="Proxima Nova"/>
              <a:sym typeface="Proxima Nova"/>
            </a:endParaRPr>
          </a:p>
        </p:txBody>
      </p:sp>
      <p:pic>
        <p:nvPicPr>
          <p:cNvPr id="471" name="Google Shape;471;p80">
            <a:hlinkClick r:id="rId9"/>
          </p:cNvPr>
          <p:cNvPicPr preferRelativeResize="0"/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5633165" y="4574030"/>
            <a:ext cx="1364157" cy="9831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D91682-F017-4D3D-BE4B-08C149FFB046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316654" y="7134226"/>
            <a:ext cx="3218688" cy="152349"/>
          </a:xfrm>
        </p:spPr>
        <p:txBody>
          <a:bodyPr/>
          <a:lstStyle/>
          <a:p>
            <a:pPr algn="l"/>
            <a:r>
              <a:rPr lang="en-GB" sz="990" dirty="0"/>
              <a:t>1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AC60426-FF83-403F-BBB6-91A40159C597}"/>
              </a:ext>
            </a:extLst>
          </p:cNvPr>
          <p:cNvSpPr txBox="1"/>
          <p:nvPr/>
        </p:nvSpPr>
        <p:spPr>
          <a:xfrm>
            <a:off x="533400" y="304800"/>
            <a:ext cx="8763000" cy="710964"/>
          </a:xfrm>
          <a:prstGeom prst="rect">
            <a:avLst/>
          </a:prstGeom>
          <a:noFill/>
        </p:spPr>
        <p:txBody>
          <a:bodyPr wrap="square" lIns="100584" tIns="50292" rIns="100584" bIns="50292" rtlCol="0" anchor="t">
            <a:spAutoFit/>
          </a:bodyPr>
          <a:lstStyle/>
          <a:p>
            <a:r>
              <a:rPr lang="en-GB" sz="3960" dirty="0">
                <a:latin typeface="+mj-lt"/>
              </a:rPr>
              <a:t>New 'Learn More' page on GED.com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28E79A6-13F5-411F-BC16-AB6296527D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560" y="1287779"/>
            <a:ext cx="7711440" cy="565679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97199039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46FA19-FFAA-4E22-A923-E639750639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81000"/>
            <a:ext cx="8116681" cy="609398"/>
          </a:xfrm>
        </p:spPr>
        <p:txBody>
          <a:bodyPr wrap="square" lIns="0" tIns="0" rIns="0" bIns="0" anchor="t">
            <a:spAutoFit/>
          </a:bodyPr>
          <a:lstStyle/>
          <a:p>
            <a:r>
              <a:rPr lang="en-GB" sz="3960" b="0" dirty="0">
                <a:latin typeface="+mj-lt"/>
              </a:rPr>
              <a:t>'Learn More' page on GED.co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8B9A649-F497-4769-8FD7-D1AFE23DA8EE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251460" y="7155181"/>
            <a:ext cx="3218688" cy="152349"/>
          </a:xfrm>
        </p:spPr>
        <p:txBody>
          <a:bodyPr/>
          <a:lstStyle/>
          <a:p>
            <a:pPr algn="l"/>
            <a:r>
              <a:rPr lang="en-GB" sz="990" dirty="0"/>
              <a:t>11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6C79F61-90EE-4D91-BC8E-D45CDEB06D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2920" y="1371600"/>
            <a:ext cx="8186501" cy="607112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08422555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A3E50A-2A51-4015-86AE-B0A2D768C0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295400"/>
            <a:ext cx="2689860" cy="609398"/>
          </a:xfrm>
        </p:spPr>
        <p:txBody>
          <a:bodyPr/>
          <a:lstStyle/>
          <a:p>
            <a:r>
              <a:rPr lang="en-GB" sz="3960" dirty="0">
                <a:latin typeface="+mj-lt"/>
              </a:rPr>
              <a:t>One-page overview for your student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C0A3849-CFEE-40B5-B67B-BB2CF7BB7E6C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167640" y="7155181"/>
            <a:ext cx="3218688" cy="152349"/>
          </a:xfrm>
        </p:spPr>
        <p:txBody>
          <a:bodyPr/>
          <a:lstStyle/>
          <a:p>
            <a:pPr algn="l"/>
            <a:r>
              <a:rPr lang="en-GB" sz="990" dirty="0"/>
              <a:t>29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5B1C9BB-E799-4DD1-B98D-5EB93E4084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34740" y="0"/>
            <a:ext cx="6096000" cy="7670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666003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67DC14-F118-4125-BE43-C2E28B0D38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324" y="304800"/>
            <a:ext cx="8116681" cy="609398"/>
          </a:xfrm>
        </p:spPr>
        <p:txBody>
          <a:bodyPr/>
          <a:lstStyle/>
          <a:p>
            <a:r>
              <a:rPr lang="en-GB" sz="3960" dirty="0">
                <a:latin typeface="+mj-lt"/>
              </a:rPr>
              <a:t>GED® Testing Service badge stat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3206254-CA24-459C-97E6-B9F1804A5289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335280" y="6903721"/>
            <a:ext cx="3218688" cy="152349"/>
          </a:xfrm>
        </p:spPr>
        <p:txBody>
          <a:bodyPr/>
          <a:lstStyle/>
          <a:p>
            <a:pPr algn="l"/>
            <a:r>
              <a:rPr lang="en-GB" sz="990" dirty="0"/>
              <a:t>13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7B0E954-E38C-8608-951D-785E75542C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485" y="1366514"/>
            <a:ext cx="8042520" cy="5872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41184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114300"/>
            <a:ext cx="10058400" cy="254953"/>
          </a:xfrm>
          <a:custGeom>
            <a:avLst/>
            <a:gdLst/>
            <a:ahLst/>
            <a:cxnLst/>
            <a:rect l="l" t="t" r="r" b="b"/>
            <a:pathLst>
              <a:path w="9144000" h="231775">
                <a:moveTo>
                  <a:pt x="9144000" y="0"/>
                </a:moveTo>
                <a:lnTo>
                  <a:pt x="0" y="0"/>
                </a:lnTo>
                <a:lnTo>
                  <a:pt x="0" y="231648"/>
                </a:lnTo>
                <a:lnTo>
                  <a:pt x="9144000" y="231648"/>
                </a:lnTo>
                <a:lnTo>
                  <a:pt x="9144000" y="0"/>
                </a:lnTo>
                <a:close/>
              </a:path>
            </a:pathLst>
          </a:custGeom>
          <a:solidFill>
            <a:srgbClr val="8DC53E"/>
          </a:solidFill>
        </p:spPr>
        <p:txBody>
          <a:bodyPr wrap="square" lIns="0" tIns="0" rIns="0" bIns="0" rtlCol="0"/>
          <a:lstStyle/>
          <a:p>
            <a:endParaRPr sz="1980"/>
          </a:p>
        </p:txBody>
      </p:sp>
      <p:sp>
        <p:nvSpPr>
          <p:cNvPr id="3" name="object 3"/>
          <p:cNvSpPr/>
          <p:nvPr/>
        </p:nvSpPr>
        <p:spPr>
          <a:xfrm>
            <a:off x="8738542" y="7363109"/>
            <a:ext cx="417005" cy="69152"/>
          </a:xfrm>
          <a:custGeom>
            <a:avLst/>
            <a:gdLst/>
            <a:ahLst/>
            <a:cxnLst/>
            <a:rect l="l" t="t" r="r" b="b"/>
            <a:pathLst>
              <a:path w="379095" h="62865">
                <a:moveTo>
                  <a:pt x="40462" y="1308"/>
                </a:moveTo>
                <a:lnTo>
                  <a:pt x="0" y="1308"/>
                </a:lnTo>
                <a:lnTo>
                  <a:pt x="0" y="10439"/>
                </a:lnTo>
                <a:lnTo>
                  <a:pt x="15011" y="10439"/>
                </a:lnTo>
                <a:lnTo>
                  <a:pt x="15011" y="61747"/>
                </a:lnTo>
                <a:lnTo>
                  <a:pt x="25234" y="61747"/>
                </a:lnTo>
                <a:lnTo>
                  <a:pt x="25234" y="10439"/>
                </a:lnTo>
                <a:lnTo>
                  <a:pt x="40462" y="10439"/>
                </a:lnTo>
                <a:lnTo>
                  <a:pt x="40462" y="1308"/>
                </a:lnTo>
                <a:close/>
              </a:path>
              <a:path w="379095" h="62865">
                <a:moveTo>
                  <a:pt x="94208" y="52400"/>
                </a:moveTo>
                <a:lnTo>
                  <a:pt x="71361" y="52400"/>
                </a:lnTo>
                <a:lnTo>
                  <a:pt x="71361" y="35445"/>
                </a:lnTo>
                <a:lnTo>
                  <a:pt x="92036" y="35445"/>
                </a:lnTo>
                <a:lnTo>
                  <a:pt x="92036" y="26085"/>
                </a:lnTo>
                <a:lnTo>
                  <a:pt x="71361" y="26085"/>
                </a:lnTo>
                <a:lnTo>
                  <a:pt x="71361" y="10439"/>
                </a:lnTo>
                <a:lnTo>
                  <a:pt x="93776" y="10439"/>
                </a:lnTo>
                <a:lnTo>
                  <a:pt x="93776" y="1308"/>
                </a:lnTo>
                <a:lnTo>
                  <a:pt x="61137" y="1308"/>
                </a:lnTo>
                <a:lnTo>
                  <a:pt x="61137" y="61747"/>
                </a:lnTo>
                <a:lnTo>
                  <a:pt x="94208" y="61747"/>
                </a:lnTo>
                <a:lnTo>
                  <a:pt x="94208" y="52400"/>
                </a:lnTo>
                <a:close/>
              </a:path>
              <a:path w="379095" h="62865">
                <a:moveTo>
                  <a:pt x="152958" y="34569"/>
                </a:moveTo>
                <a:lnTo>
                  <a:pt x="144691" y="30441"/>
                </a:lnTo>
                <a:lnTo>
                  <a:pt x="137515" y="26530"/>
                </a:lnTo>
                <a:lnTo>
                  <a:pt x="127063" y="21310"/>
                </a:lnTo>
                <a:lnTo>
                  <a:pt x="127063" y="10007"/>
                </a:lnTo>
                <a:lnTo>
                  <a:pt x="132283" y="9347"/>
                </a:lnTo>
                <a:lnTo>
                  <a:pt x="137071" y="9347"/>
                </a:lnTo>
                <a:lnTo>
                  <a:pt x="138811" y="10007"/>
                </a:lnTo>
                <a:lnTo>
                  <a:pt x="141211" y="12395"/>
                </a:lnTo>
                <a:lnTo>
                  <a:pt x="141859" y="14782"/>
                </a:lnTo>
                <a:lnTo>
                  <a:pt x="141859" y="19786"/>
                </a:lnTo>
                <a:lnTo>
                  <a:pt x="152311" y="19786"/>
                </a:lnTo>
                <a:lnTo>
                  <a:pt x="152527" y="18478"/>
                </a:lnTo>
                <a:lnTo>
                  <a:pt x="152742" y="12395"/>
                </a:lnTo>
                <a:lnTo>
                  <a:pt x="151434" y="7823"/>
                </a:lnTo>
                <a:lnTo>
                  <a:pt x="148386" y="4572"/>
                </a:lnTo>
                <a:lnTo>
                  <a:pt x="145338" y="1524"/>
                </a:lnTo>
                <a:lnTo>
                  <a:pt x="140995" y="0"/>
                </a:lnTo>
                <a:lnTo>
                  <a:pt x="123799" y="0"/>
                </a:lnTo>
                <a:lnTo>
                  <a:pt x="116624" y="6743"/>
                </a:lnTo>
                <a:lnTo>
                  <a:pt x="116624" y="27393"/>
                </a:lnTo>
                <a:lnTo>
                  <a:pt x="131851" y="35229"/>
                </a:lnTo>
                <a:lnTo>
                  <a:pt x="137515" y="38265"/>
                </a:lnTo>
                <a:lnTo>
                  <a:pt x="142519" y="40665"/>
                </a:lnTo>
                <a:lnTo>
                  <a:pt x="142519" y="51092"/>
                </a:lnTo>
                <a:lnTo>
                  <a:pt x="139687" y="53708"/>
                </a:lnTo>
                <a:lnTo>
                  <a:pt x="130543" y="53708"/>
                </a:lnTo>
                <a:lnTo>
                  <a:pt x="125539" y="52400"/>
                </a:lnTo>
                <a:lnTo>
                  <a:pt x="125539" y="41744"/>
                </a:lnTo>
                <a:lnTo>
                  <a:pt x="115316" y="41744"/>
                </a:lnTo>
                <a:lnTo>
                  <a:pt x="115316" y="46101"/>
                </a:lnTo>
                <a:lnTo>
                  <a:pt x="115100" y="53276"/>
                </a:lnTo>
                <a:lnTo>
                  <a:pt x="119672" y="58267"/>
                </a:lnTo>
                <a:lnTo>
                  <a:pt x="122720" y="61315"/>
                </a:lnTo>
                <a:lnTo>
                  <a:pt x="127279" y="62839"/>
                </a:lnTo>
                <a:lnTo>
                  <a:pt x="133591" y="62839"/>
                </a:lnTo>
                <a:lnTo>
                  <a:pt x="141846" y="61709"/>
                </a:lnTo>
                <a:lnTo>
                  <a:pt x="147929" y="58381"/>
                </a:lnTo>
                <a:lnTo>
                  <a:pt x="151676" y="52933"/>
                </a:lnTo>
                <a:lnTo>
                  <a:pt x="152958" y="45440"/>
                </a:lnTo>
                <a:lnTo>
                  <a:pt x="152958" y="34569"/>
                </a:lnTo>
                <a:close/>
              </a:path>
              <a:path w="379095" h="62865">
                <a:moveTo>
                  <a:pt x="212356" y="1308"/>
                </a:moveTo>
                <a:lnTo>
                  <a:pt x="171894" y="1308"/>
                </a:lnTo>
                <a:lnTo>
                  <a:pt x="171894" y="10439"/>
                </a:lnTo>
                <a:lnTo>
                  <a:pt x="187121" y="10439"/>
                </a:lnTo>
                <a:lnTo>
                  <a:pt x="187121" y="61747"/>
                </a:lnTo>
                <a:lnTo>
                  <a:pt x="197345" y="61747"/>
                </a:lnTo>
                <a:lnTo>
                  <a:pt x="197345" y="10439"/>
                </a:lnTo>
                <a:lnTo>
                  <a:pt x="212356" y="10439"/>
                </a:lnTo>
                <a:lnTo>
                  <a:pt x="212356" y="1308"/>
                </a:lnTo>
                <a:close/>
              </a:path>
              <a:path w="379095" h="62865">
                <a:moveTo>
                  <a:pt x="244360" y="1308"/>
                </a:moveTo>
                <a:lnTo>
                  <a:pt x="234124" y="1308"/>
                </a:lnTo>
                <a:lnTo>
                  <a:pt x="234124" y="61747"/>
                </a:lnTo>
                <a:lnTo>
                  <a:pt x="244360" y="61747"/>
                </a:lnTo>
                <a:lnTo>
                  <a:pt x="244360" y="1308"/>
                </a:lnTo>
                <a:close/>
              </a:path>
              <a:path w="379095" h="62865">
                <a:moveTo>
                  <a:pt x="313969" y="1308"/>
                </a:moveTo>
                <a:lnTo>
                  <a:pt x="304622" y="1308"/>
                </a:lnTo>
                <a:lnTo>
                  <a:pt x="304622" y="45656"/>
                </a:lnTo>
                <a:lnTo>
                  <a:pt x="284378" y="1308"/>
                </a:lnTo>
                <a:lnTo>
                  <a:pt x="271538" y="1308"/>
                </a:lnTo>
                <a:lnTo>
                  <a:pt x="271538" y="61747"/>
                </a:lnTo>
                <a:lnTo>
                  <a:pt x="281101" y="61747"/>
                </a:lnTo>
                <a:lnTo>
                  <a:pt x="281101" y="16738"/>
                </a:lnTo>
                <a:lnTo>
                  <a:pt x="301574" y="61747"/>
                </a:lnTo>
                <a:lnTo>
                  <a:pt x="313969" y="61747"/>
                </a:lnTo>
                <a:lnTo>
                  <a:pt x="313969" y="1308"/>
                </a:lnTo>
                <a:close/>
              </a:path>
              <a:path w="379095" h="62865">
                <a:moveTo>
                  <a:pt x="378815" y="12179"/>
                </a:moveTo>
                <a:lnTo>
                  <a:pt x="377507" y="7823"/>
                </a:lnTo>
                <a:lnTo>
                  <a:pt x="371614" y="1524"/>
                </a:lnTo>
                <a:lnTo>
                  <a:pt x="366636" y="0"/>
                </a:lnTo>
                <a:lnTo>
                  <a:pt x="359232" y="0"/>
                </a:lnTo>
                <a:lnTo>
                  <a:pt x="350939" y="1358"/>
                </a:lnTo>
                <a:lnTo>
                  <a:pt x="344792" y="5295"/>
                </a:lnTo>
                <a:lnTo>
                  <a:pt x="340969" y="11645"/>
                </a:lnTo>
                <a:lnTo>
                  <a:pt x="339661" y="20218"/>
                </a:lnTo>
                <a:lnTo>
                  <a:pt x="339661" y="39141"/>
                </a:lnTo>
                <a:lnTo>
                  <a:pt x="340855" y="49720"/>
                </a:lnTo>
                <a:lnTo>
                  <a:pt x="344462" y="57099"/>
                </a:lnTo>
                <a:lnTo>
                  <a:pt x="350570" y="61429"/>
                </a:lnTo>
                <a:lnTo>
                  <a:pt x="359232" y="62839"/>
                </a:lnTo>
                <a:lnTo>
                  <a:pt x="366191" y="62839"/>
                </a:lnTo>
                <a:lnTo>
                  <a:pt x="368134" y="36969"/>
                </a:lnTo>
                <a:lnTo>
                  <a:pt x="368134" y="51968"/>
                </a:lnTo>
                <a:lnTo>
                  <a:pt x="366395" y="52832"/>
                </a:lnTo>
                <a:lnTo>
                  <a:pt x="363359" y="53924"/>
                </a:lnTo>
                <a:lnTo>
                  <a:pt x="353352" y="53924"/>
                </a:lnTo>
                <a:lnTo>
                  <a:pt x="350100" y="51536"/>
                </a:lnTo>
                <a:lnTo>
                  <a:pt x="350100" y="11087"/>
                </a:lnTo>
                <a:lnTo>
                  <a:pt x="355092" y="9131"/>
                </a:lnTo>
                <a:lnTo>
                  <a:pt x="365531" y="9131"/>
                </a:lnTo>
                <a:lnTo>
                  <a:pt x="367931" y="11747"/>
                </a:lnTo>
                <a:lnTo>
                  <a:pt x="367931" y="19570"/>
                </a:lnTo>
                <a:lnTo>
                  <a:pt x="378612" y="19570"/>
                </a:lnTo>
                <a:lnTo>
                  <a:pt x="378612" y="18046"/>
                </a:lnTo>
                <a:lnTo>
                  <a:pt x="378815" y="12179"/>
                </a:lnTo>
                <a:close/>
              </a:path>
            </a:pathLst>
          </a:custGeom>
          <a:solidFill>
            <a:srgbClr val="007DA2"/>
          </a:solidFill>
        </p:spPr>
        <p:txBody>
          <a:bodyPr wrap="square" lIns="0" tIns="0" rIns="0" bIns="0" rtlCol="0"/>
          <a:lstStyle/>
          <a:p>
            <a:endParaRPr sz="1980"/>
          </a:p>
        </p:txBody>
      </p:sp>
      <p:sp>
        <p:nvSpPr>
          <p:cNvPr id="4" name="object 4"/>
          <p:cNvSpPr/>
          <p:nvPr/>
        </p:nvSpPr>
        <p:spPr>
          <a:xfrm>
            <a:off x="9219137" y="7362633"/>
            <a:ext cx="452628" cy="69850"/>
          </a:xfrm>
          <a:custGeom>
            <a:avLst/>
            <a:gdLst/>
            <a:ahLst/>
            <a:cxnLst/>
            <a:rect l="l" t="t" r="r" b="b"/>
            <a:pathLst>
              <a:path w="411479" h="63500">
                <a:moveTo>
                  <a:pt x="37871" y="35001"/>
                </a:moveTo>
                <a:lnTo>
                  <a:pt x="29616" y="30873"/>
                </a:lnTo>
                <a:lnTo>
                  <a:pt x="22415" y="26962"/>
                </a:lnTo>
                <a:lnTo>
                  <a:pt x="11976" y="21742"/>
                </a:lnTo>
                <a:lnTo>
                  <a:pt x="11976" y="10439"/>
                </a:lnTo>
                <a:lnTo>
                  <a:pt x="17195" y="9779"/>
                </a:lnTo>
                <a:lnTo>
                  <a:pt x="21983" y="9779"/>
                </a:lnTo>
                <a:lnTo>
                  <a:pt x="23723" y="10439"/>
                </a:lnTo>
                <a:lnTo>
                  <a:pt x="24790" y="11518"/>
                </a:lnTo>
                <a:lnTo>
                  <a:pt x="26327" y="12827"/>
                </a:lnTo>
                <a:lnTo>
                  <a:pt x="26974" y="15214"/>
                </a:lnTo>
                <a:lnTo>
                  <a:pt x="26771" y="18694"/>
                </a:lnTo>
                <a:lnTo>
                  <a:pt x="26771" y="20218"/>
                </a:lnTo>
                <a:lnTo>
                  <a:pt x="37439" y="20218"/>
                </a:lnTo>
                <a:lnTo>
                  <a:pt x="37439" y="18910"/>
                </a:lnTo>
                <a:lnTo>
                  <a:pt x="37642" y="12827"/>
                </a:lnTo>
                <a:lnTo>
                  <a:pt x="36334" y="8255"/>
                </a:lnTo>
                <a:lnTo>
                  <a:pt x="33299" y="5003"/>
                </a:lnTo>
                <a:lnTo>
                  <a:pt x="30251" y="1955"/>
                </a:lnTo>
                <a:lnTo>
                  <a:pt x="25895" y="431"/>
                </a:lnTo>
                <a:lnTo>
                  <a:pt x="8928" y="431"/>
                </a:lnTo>
                <a:lnTo>
                  <a:pt x="1536" y="7175"/>
                </a:lnTo>
                <a:lnTo>
                  <a:pt x="1536" y="27825"/>
                </a:lnTo>
                <a:lnTo>
                  <a:pt x="9804" y="31953"/>
                </a:lnTo>
                <a:lnTo>
                  <a:pt x="16764" y="35661"/>
                </a:lnTo>
                <a:lnTo>
                  <a:pt x="22618" y="38696"/>
                </a:lnTo>
                <a:lnTo>
                  <a:pt x="27406" y="41097"/>
                </a:lnTo>
                <a:lnTo>
                  <a:pt x="27406" y="51523"/>
                </a:lnTo>
                <a:lnTo>
                  <a:pt x="24587" y="54140"/>
                </a:lnTo>
                <a:lnTo>
                  <a:pt x="15659" y="54140"/>
                </a:lnTo>
                <a:lnTo>
                  <a:pt x="10439" y="52832"/>
                </a:lnTo>
                <a:lnTo>
                  <a:pt x="10439" y="42176"/>
                </a:lnTo>
                <a:lnTo>
                  <a:pt x="228" y="42176"/>
                </a:lnTo>
                <a:lnTo>
                  <a:pt x="228" y="46532"/>
                </a:lnTo>
                <a:lnTo>
                  <a:pt x="0" y="53708"/>
                </a:lnTo>
                <a:lnTo>
                  <a:pt x="4584" y="58699"/>
                </a:lnTo>
                <a:lnTo>
                  <a:pt x="7632" y="61747"/>
                </a:lnTo>
                <a:lnTo>
                  <a:pt x="12179" y="63271"/>
                </a:lnTo>
                <a:lnTo>
                  <a:pt x="18503" y="63271"/>
                </a:lnTo>
                <a:lnTo>
                  <a:pt x="26847" y="62141"/>
                </a:lnTo>
                <a:lnTo>
                  <a:pt x="32918" y="58813"/>
                </a:lnTo>
                <a:lnTo>
                  <a:pt x="36626" y="53365"/>
                </a:lnTo>
                <a:lnTo>
                  <a:pt x="37871" y="45872"/>
                </a:lnTo>
                <a:lnTo>
                  <a:pt x="37871" y="35001"/>
                </a:lnTo>
                <a:close/>
              </a:path>
              <a:path w="411479" h="63500">
                <a:moveTo>
                  <a:pt x="95300" y="52832"/>
                </a:moveTo>
                <a:lnTo>
                  <a:pt x="72440" y="52832"/>
                </a:lnTo>
                <a:lnTo>
                  <a:pt x="72440" y="35877"/>
                </a:lnTo>
                <a:lnTo>
                  <a:pt x="93129" y="35877"/>
                </a:lnTo>
                <a:lnTo>
                  <a:pt x="93129" y="26517"/>
                </a:lnTo>
                <a:lnTo>
                  <a:pt x="72440" y="26517"/>
                </a:lnTo>
                <a:lnTo>
                  <a:pt x="72440" y="10871"/>
                </a:lnTo>
                <a:lnTo>
                  <a:pt x="94869" y="10871"/>
                </a:lnTo>
                <a:lnTo>
                  <a:pt x="94869" y="1739"/>
                </a:lnTo>
                <a:lnTo>
                  <a:pt x="62242" y="1739"/>
                </a:lnTo>
                <a:lnTo>
                  <a:pt x="62242" y="62179"/>
                </a:lnTo>
                <a:lnTo>
                  <a:pt x="95300" y="62179"/>
                </a:lnTo>
                <a:lnTo>
                  <a:pt x="95300" y="52832"/>
                </a:lnTo>
                <a:close/>
              </a:path>
              <a:path w="411479" h="63500">
                <a:moveTo>
                  <a:pt x="155803" y="62179"/>
                </a:moveTo>
                <a:lnTo>
                  <a:pt x="155359" y="60223"/>
                </a:lnTo>
                <a:lnTo>
                  <a:pt x="154266" y="56743"/>
                </a:lnTo>
                <a:lnTo>
                  <a:pt x="153416" y="48272"/>
                </a:lnTo>
                <a:lnTo>
                  <a:pt x="153314" y="43916"/>
                </a:lnTo>
                <a:lnTo>
                  <a:pt x="152958" y="36525"/>
                </a:lnTo>
                <a:lnTo>
                  <a:pt x="152666" y="35661"/>
                </a:lnTo>
                <a:lnTo>
                  <a:pt x="151650" y="32613"/>
                </a:lnTo>
                <a:lnTo>
                  <a:pt x="147104" y="30657"/>
                </a:lnTo>
                <a:lnTo>
                  <a:pt x="151650" y="28270"/>
                </a:lnTo>
                <a:lnTo>
                  <a:pt x="152819" y="26301"/>
                </a:lnTo>
                <a:lnTo>
                  <a:pt x="154495" y="23482"/>
                </a:lnTo>
                <a:lnTo>
                  <a:pt x="154495" y="10871"/>
                </a:lnTo>
                <a:lnTo>
                  <a:pt x="154495" y="9779"/>
                </a:lnTo>
                <a:lnTo>
                  <a:pt x="150342" y="1739"/>
                </a:lnTo>
                <a:lnTo>
                  <a:pt x="144056" y="1739"/>
                </a:lnTo>
                <a:lnTo>
                  <a:pt x="144056" y="17170"/>
                </a:lnTo>
                <a:lnTo>
                  <a:pt x="144056" y="21958"/>
                </a:lnTo>
                <a:lnTo>
                  <a:pt x="142316" y="26301"/>
                </a:lnTo>
                <a:lnTo>
                  <a:pt x="128155" y="26301"/>
                </a:lnTo>
                <a:lnTo>
                  <a:pt x="128155" y="10871"/>
                </a:lnTo>
                <a:lnTo>
                  <a:pt x="143827" y="10871"/>
                </a:lnTo>
                <a:lnTo>
                  <a:pt x="144056" y="17170"/>
                </a:lnTo>
                <a:lnTo>
                  <a:pt x="144056" y="1739"/>
                </a:lnTo>
                <a:lnTo>
                  <a:pt x="117919" y="1739"/>
                </a:lnTo>
                <a:lnTo>
                  <a:pt x="117919" y="62179"/>
                </a:lnTo>
                <a:lnTo>
                  <a:pt x="128155" y="62179"/>
                </a:lnTo>
                <a:lnTo>
                  <a:pt x="128155" y="35661"/>
                </a:lnTo>
                <a:lnTo>
                  <a:pt x="139903" y="35661"/>
                </a:lnTo>
                <a:lnTo>
                  <a:pt x="142316" y="37617"/>
                </a:lnTo>
                <a:lnTo>
                  <a:pt x="142519" y="41744"/>
                </a:lnTo>
                <a:lnTo>
                  <a:pt x="142748" y="43916"/>
                </a:lnTo>
                <a:lnTo>
                  <a:pt x="142748" y="46088"/>
                </a:lnTo>
                <a:lnTo>
                  <a:pt x="142951" y="48272"/>
                </a:lnTo>
                <a:lnTo>
                  <a:pt x="143383" y="58267"/>
                </a:lnTo>
                <a:lnTo>
                  <a:pt x="145364" y="62179"/>
                </a:lnTo>
                <a:lnTo>
                  <a:pt x="155803" y="62179"/>
                </a:lnTo>
                <a:close/>
              </a:path>
              <a:path w="411479" h="63500">
                <a:moveTo>
                  <a:pt x="218681" y="1739"/>
                </a:moveTo>
                <a:lnTo>
                  <a:pt x="208000" y="1739"/>
                </a:lnTo>
                <a:lnTo>
                  <a:pt x="195618" y="48272"/>
                </a:lnTo>
                <a:lnTo>
                  <a:pt x="183438" y="1739"/>
                </a:lnTo>
                <a:lnTo>
                  <a:pt x="172567" y="1739"/>
                </a:lnTo>
                <a:lnTo>
                  <a:pt x="189966" y="62179"/>
                </a:lnTo>
                <a:lnTo>
                  <a:pt x="200837" y="62179"/>
                </a:lnTo>
                <a:lnTo>
                  <a:pt x="218681" y="1739"/>
                </a:lnTo>
                <a:close/>
              </a:path>
              <a:path w="411479" h="63500">
                <a:moveTo>
                  <a:pt x="249796" y="1739"/>
                </a:moveTo>
                <a:lnTo>
                  <a:pt x="239560" y="1739"/>
                </a:lnTo>
                <a:lnTo>
                  <a:pt x="239560" y="62179"/>
                </a:lnTo>
                <a:lnTo>
                  <a:pt x="249796" y="62179"/>
                </a:lnTo>
                <a:lnTo>
                  <a:pt x="249796" y="1739"/>
                </a:lnTo>
                <a:close/>
              </a:path>
              <a:path w="411479" h="63500">
                <a:moveTo>
                  <a:pt x="313537" y="42176"/>
                </a:moveTo>
                <a:lnTo>
                  <a:pt x="303098" y="42176"/>
                </a:lnTo>
                <a:lnTo>
                  <a:pt x="302895" y="52832"/>
                </a:lnTo>
                <a:lnTo>
                  <a:pt x="298310" y="54356"/>
                </a:lnTo>
                <a:lnTo>
                  <a:pt x="286575" y="54356"/>
                </a:lnTo>
                <a:lnTo>
                  <a:pt x="286575" y="16306"/>
                </a:lnTo>
                <a:lnTo>
                  <a:pt x="287642" y="14135"/>
                </a:lnTo>
                <a:lnTo>
                  <a:pt x="287870" y="13474"/>
                </a:lnTo>
                <a:lnTo>
                  <a:pt x="288074" y="13474"/>
                </a:lnTo>
                <a:lnTo>
                  <a:pt x="288074" y="13042"/>
                </a:lnTo>
                <a:lnTo>
                  <a:pt x="290487" y="9563"/>
                </a:lnTo>
                <a:lnTo>
                  <a:pt x="297014" y="9563"/>
                </a:lnTo>
                <a:lnTo>
                  <a:pt x="299859" y="10223"/>
                </a:lnTo>
                <a:lnTo>
                  <a:pt x="300926" y="11518"/>
                </a:lnTo>
                <a:lnTo>
                  <a:pt x="302234" y="13258"/>
                </a:lnTo>
                <a:lnTo>
                  <a:pt x="302234" y="20434"/>
                </a:lnTo>
                <a:lnTo>
                  <a:pt x="312470" y="20434"/>
                </a:lnTo>
                <a:lnTo>
                  <a:pt x="302031" y="431"/>
                </a:lnTo>
                <a:lnTo>
                  <a:pt x="296138" y="431"/>
                </a:lnTo>
                <a:lnTo>
                  <a:pt x="287147" y="1765"/>
                </a:lnTo>
                <a:lnTo>
                  <a:pt x="280911" y="5842"/>
                </a:lnTo>
                <a:lnTo>
                  <a:pt x="277304" y="12814"/>
                </a:lnTo>
                <a:lnTo>
                  <a:pt x="276123" y="22834"/>
                </a:lnTo>
                <a:lnTo>
                  <a:pt x="276123" y="39128"/>
                </a:lnTo>
                <a:lnTo>
                  <a:pt x="278244" y="53086"/>
                </a:lnTo>
                <a:lnTo>
                  <a:pt x="283387" y="60248"/>
                </a:lnTo>
                <a:lnTo>
                  <a:pt x="289801" y="62890"/>
                </a:lnTo>
                <a:lnTo>
                  <a:pt x="295706" y="63271"/>
                </a:lnTo>
                <a:lnTo>
                  <a:pt x="304406" y="63271"/>
                </a:lnTo>
                <a:lnTo>
                  <a:pt x="308762" y="58928"/>
                </a:lnTo>
                <a:lnTo>
                  <a:pt x="312039" y="55448"/>
                </a:lnTo>
                <a:lnTo>
                  <a:pt x="313537" y="50444"/>
                </a:lnTo>
                <a:lnTo>
                  <a:pt x="313537" y="42176"/>
                </a:lnTo>
                <a:close/>
              </a:path>
              <a:path w="411479" h="63500">
                <a:moveTo>
                  <a:pt x="370128" y="52832"/>
                </a:moveTo>
                <a:lnTo>
                  <a:pt x="347268" y="52832"/>
                </a:lnTo>
                <a:lnTo>
                  <a:pt x="347268" y="35877"/>
                </a:lnTo>
                <a:lnTo>
                  <a:pt x="368147" y="35877"/>
                </a:lnTo>
                <a:lnTo>
                  <a:pt x="368147" y="26517"/>
                </a:lnTo>
                <a:lnTo>
                  <a:pt x="347268" y="26517"/>
                </a:lnTo>
                <a:lnTo>
                  <a:pt x="347268" y="10871"/>
                </a:lnTo>
                <a:lnTo>
                  <a:pt x="369697" y="10871"/>
                </a:lnTo>
                <a:lnTo>
                  <a:pt x="369697" y="1739"/>
                </a:lnTo>
                <a:lnTo>
                  <a:pt x="337032" y="1739"/>
                </a:lnTo>
                <a:lnTo>
                  <a:pt x="337032" y="62179"/>
                </a:lnTo>
                <a:lnTo>
                  <a:pt x="370128" y="62179"/>
                </a:lnTo>
                <a:lnTo>
                  <a:pt x="370128" y="52832"/>
                </a:lnTo>
                <a:close/>
              </a:path>
              <a:path w="411479" h="63500">
                <a:moveTo>
                  <a:pt x="403618" y="6959"/>
                </a:moveTo>
                <a:lnTo>
                  <a:pt x="402323" y="5219"/>
                </a:lnTo>
                <a:lnTo>
                  <a:pt x="401243" y="5219"/>
                </a:lnTo>
                <a:lnTo>
                  <a:pt x="401243" y="8039"/>
                </a:lnTo>
                <a:lnTo>
                  <a:pt x="401243" y="10223"/>
                </a:lnTo>
                <a:lnTo>
                  <a:pt x="400583" y="11303"/>
                </a:lnTo>
                <a:lnTo>
                  <a:pt x="396227" y="11303"/>
                </a:lnTo>
                <a:lnTo>
                  <a:pt x="396227" y="6959"/>
                </a:lnTo>
                <a:lnTo>
                  <a:pt x="400812" y="6959"/>
                </a:lnTo>
                <a:lnTo>
                  <a:pt x="401243" y="8039"/>
                </a:lnTo>
                <a:lnTo>
                  <a:pt x="401243" y="5219"/>
                </a:lnTo>
                <a:lnTo>
                  <a:pt x="393852" y="5219"/>
                </a:lnTo>
                <a:lnTo>
                  <a:pt x="393852" y="19570"/>
                </a:lnTo>
                <a:lnTo>
                  <a:pt x="396227" y="19570"/>
                </a:lnTo>
                <a:lnTo>
                  <a:pt x="396227" y="13258"/>
                </a:lnTo>
                <a:lnTo>
                  <a:pt x="400583" y="13258"/>
                </a:lnTo>
                <a:lnTo>
                  <a:pt x="400812" y="14782"/>
                </a:lnTo>
                <a:lnTo>
                  <a:pt x="400812" y="18694"/>
                </a:lnTo>
                <a:lnTo>
                  <a:pt x="401243" y="19570"/>
                </a:lnTo>
                <a:lnTo>
                  <a:pt x="403618" y="19570"/>
                </a:lnTo>
                <a:lnTo>
                  <a:pt x="403186" y="18694"/>
                </a:lnTo>
                <a:lnTo>
                  <a:pt x="402983" y="16522"/>
                </a:lnTo>
                <a:lnTo>
                  <a:pt x="402983" y="13258"/>
                </a:lnTo>
                <a:lnTo>
                  <a:pt x="402983" y="13042"/>
                </a:lnTo>
                <a:lnTo>
                  <a:pt x="402323" y="12395"/>
                </a:lnTo>
                <a:lnTo>
                  <a:pt x="400583" y="12179"/>
                </a:lnTo>
                <a:lnTo>
                  <a:pt x="402323" y="11734"/>
                </a:lnTo>
                <a:lnTo>
                  <a:pt x="402755" y="11303"/>
                </a:lnTo>
                <a:lnTo>
                  <a:pt x="403618" y="10439"/>
                </a:lnTo>
                <a:lnTo>
                  <a:pt x="403618" y="6959"/>
                </a:lnTo>
                <a:close/>
              </a:path>
              <a:path w="411479" h="63500">
                <a:moveTo>
                  <a:pt x="411022" y="5435"/>
                </a:moveTo>
                <a:lnTo>
                  <a:pt x="409282" y="3695"/>
                </a:lnTo>
                <a:lnTo>
                  <a:pt x="409282" y="6515"/>
                </a:lnTo>
                <a:lnTo>
                  <a:pt x="409282" y="18262"/>
                </a:lnTo>
                <a:lnTo>
                  <a:pt x="404495" y="23050"/>
                </a:lnTo>
                <a:lnTo>
                  <a:pt x="392544" y="23050"/>
                </a:lnTo>
                <a:lnTo>
                  <a:pt x="387731" y="18262"/>
                </a:lnTo>
                <a:lnTo>
                  <a:pt x="387731" y="6515"/>
                </a:lnTo>
                <a:lnTo>
                  <a:pt x="392544" y="1739"/>
                </a:lnTo>
                <a:lnTo>
                  <a:pt x="404495" y="1739"/>
                </a:lnTo>
                <a:lnTo>
                  <a:pt x="409282" y="6515"/>
                </a:lnTo>
                <a:lnTo>
                  <a:pt x="409282" y="3695"/>
                </a:lnTo>
                <a:lnTo>
                  <a:pt x="407327" y="1739"/>
                </a:lnTo>
                <a:lnTo>
                  <a:pt x="405599" y="0"/>
                </a:lnTo>
                <a:lnTo>
                  <a:pt x="391680" y="0"/>
                </a:lnTo>
                <a:lnTo>
                  <a:pt x="385787" y="5435"/>
                </a:lnTo>
                <a:lnTo>
                  <a:pt x="385787" y="19342"/>
                </a:lnTo>
                <a:lnTo>
                  <a:pt x="391680" y="24790"/>
                </a:lnTo>
                <a:lnTo>
                  <a:pt x="405599" y="24790"/>
                </a:lnTo>
                <a:lnTo>
                  <a:pt x="407327" y="23050"/>
                </a:lnTo>
                <a:lnTo>
                  <a:pt x="411022" y="19342"/>
                </a:lnTo>
                <a:lnTo>
                  <a:pt x="411022" y="5435"/>
                </a:lnTo>
                <a:close/>
              </a:path>
            </a:pathLst>
          </a:custGeom>
          <a:solidFill>
            <a:srgbClr val="007DA2"/>
          </a:solidFill>
        </p:spPr>
        <p:txBody>
          <a:bodyPr wrap="square" lIns="0" tIns="0" rIns="0" bIns="0" rtlCol="0"/>
          <a:lstStyle/>
          <a:p>
            <a:endParaRPr sz="1980"/>
          </a:p>
        </p:txBody>
      </p:sp>
      <p:grpSp>
        <p:nvGrpSpPr>
          <p:cNvPr id="5" name="object 5"/>
          <p:cNvGrpSpPr/>
          <p:nvPr/>
        </p:nvGrpSpPr>
        <p:grpSpPr>
          <a:xfrm>
            <a:off x="8653577" y="6975154"/>
            <a:ext cx="337376" cy="336677"/>
            <a:chOff x="7866888" y="6237140"/>
            <a:chExt cx="306705" cy="306070"/>
          </a:xfrm>
        </p:grpSpPr>
        <p:sp>
          <p:nvSpPr>
            <p:cNvPr id="6" name="object 6"/>
            <p:cNvSpPr/>
            <p:nvPr/>
          </p:nvSpPr>
          <p:spPr>
            <a:xfrm>
              <a:off x="7866888" y="6237140"/>
              <a:ext cx="306705" cy="306070"/>
            </a:xfrm>
            <a:custGeom>
              <a:avLst/>
              <a:gdLst/>
              <a:ahLst/>
              <a:cxnLst/>
              <a:rect l="l" t="t" r="r" b="b"/>
              <a:pathLst>
                <a:path w="306704" h="306070">
                  <a:moveTo>
                    <a:pt x="306147" y="0"/>
                  </a:moveTo>
                  <a:lnTo>
                    <a:pt x="0" y="0"/>
                  </a:lnTo>
                  <a:lnTo>
                    <a:pt x="0" y="305931"/>
                  </a:lnTo>
                  <a:lnTo>
                    <a:pt x="306147" y="305931"/>
                  </a:lnTo>
                  <a:lnTo>
                    <a:pt x="306147" y="0"/>
                  </a:lnTo>
                  <a:close/>
                </a:path>
              </a:pathLst>
            </a:custGeom>
            <a:solidFill>
              <a:srgbClr val="007DA2"/>
            </a:solidFill>
          </p:spPr>
          <p:txBody>
            <a:bodyPr wrap="square" lIns="0" tIns="0" rIns="0" bIns="0" rtlCol="0"/>
            <a:lstStyle/>
            <a:p>
              <a:endParaRPr sz="1980"/>
            </a:p>
          </p:txBody>
        </p:sp>
        <p:pic>
          <p:nvPicPr>
            <p:cNvPr id="7" name="object 7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938474" y="6283025"/>
              <a:ext cx="162755" cy="214169"/>
            </a:xfrm>
            <a:prstGeom prst="rect">
              <a:avLst/>
            </a:prstGeom>
          </p:spPr>
        </p:pic>
      </p:grpSp>
      <p:grpSp>
        <p:nvGrpSpPr>
          <p:cNvPr id="8" name="object 8"/>
          <p:cNvGrpSpPr/>
          <p:nvPr/>
        </p:nvGrpSpPr>
        <p:grpSpPr>
          <a:xfrm>
            <a:off x="0" y="114300"/>
            <a:ext cx="10058400" cy="7543800"/>
            <a:chOff x="0" y="0"/>
            <a:chExt cx="9144000" cy="6858000"/>
          </a:xfrm>
        </p:grpSpPr>
        <p:sp>
          <p:nvSpPr>
            <p:cNvPr id="9" name="object 9"/>
            <p:cNvSpPr/>
            <p:nvPr/>
          </p:nvSpPr>
          <p:spPr>
            <a:xfrm>
              <a:off x="8231127" y="6115377"/>
              <a:ext cx="245745" cy="427990"/>
            </a:xfrm>
            <a:custGeom>
              <a:avLst/>
              <a:gdLst/>
              <a:ahLst/>
              <a:cxnLst/>
              <a:rect l="l" t="t" r="r" b="b"/>
              <a:pathLst>
                <a:path w="245745" h="427990">
                  <a:moveTo>
                    <a:pt x="0" y="0"/>
                  </a:moveTo>
                  <a:lnTo>
                    <a:pt x="0" y="305713"/>
                  </a:lnTo>
                  <a:lnTo>
                    <a:pt x="245446" y="427693"/>
                  </a:lnTo>
                  <a:lnTo>
                    <a:pt x="245446" y="1217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DA2"/>
            </a:solidFill>
          </p:spPr>
          <p:txBody>
            <a:bodyPr wrap="square" lIns="0" tIns="0" rIns="0" bIns="0" rtlCol="0"/>
            <a:lstStyle/>
            <a:p>
              <a:endParaRPr sz="1980"/>
            </a:p>
          </p:txBody>
        </p:sp>
        <p:pic>
          <p:nvPicPr>
            <p:cNvPr id="10" name="object 10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292278" y="6202352"/>
              <a:ext cx="122940" cy="253530"/>
            </a:xfrm>
            <a:prstGeom prst="rect">
              <a:avLst/>
            </a:prstGeom>
          </p:spPr>
        </p:pic>
        <p:sp>
          <p:nvSpPr>
            <p:cNvPr id="11" name="object 11"/>
            <p:cNvSpPr/>
            <p:nvPr/>
          </p:nvSpPr>
          <p:spPr>
            <a:xfrm>
              <a:off x="8506822" y="6237140"/>
              <a:ext cx="308610" cy="306070"/>
            </a:xfrm>
            <a:custGeom>
              <a:avLst/>
              <a:gdLst/>
              <a:ahLst/>
              <a:cxnLst/>
              <a:rect l="l" t="t" r="r" b="b"/>
              <a:pathLst>
                <a:path w="308609" h="306070">
                  <a:moveTo>
                    <a:pt x="308091" y="0"/>
                  </a:moveTo>
                  <a:lnTo>
                    <a:pt x="0" y="0"/>
                  </a:lnTo>
                  <a:lnTo>
                    <a:pt x="0" y="305931"/>
                  </a:lnTo>
                  <a:lnTo>
                    <a:pt x="308091" y="305931"/>
                  </a:lnTo>
                  <a:lnTo>
                    <a:pt x="308091" y="0"/>
                  </a:lnTo>
                  <a:close/>
                </a:path>
              </a:pathLst>
            </a:custGeom>
            <a:solidFill>
              <a:srgbClr val="007DA2"/>
            </a:solidFill>
          </p:spPr>
          <p:txBody>
            <a:bodyPr wrap="square" lIns="0" tIns="0" rIns="0" bIns="0" rtlCol="0"/>
            <a:lstStyle/>
            <a:p>
              <a:endParaRPr sz="1980"/>
            </a:p>
          </p:txBody>
        </p:sp>
        <p:pic>
          <p:nvPicPr>
            <p:cNvPr id="12" name="object 12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568380" y="6285836"/>
              <a:ext cx="184947" cy="208748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0" y="0"/>
              <a:ext cx="9143999" cy="6857998"/>
            </a:xfrm>
            <a:prstGeom prst="rect">
              <a:avLst/>
            </a:prstGeom>
          </p:spPr>
        </p:pic>
      </p:grpSp>
      <p:sp>
        <p:nvSpPr>
          <p:cNvPr id="14" name="object 14"/>
          <p:cNvSpPr txBox="1"/>
          <p:nvPr/>
        </p:nvSpPr>
        <p:spPr>
          <a:xfrm>
            <a:off x="489284" y="7241456"/>
            <a:ext cx="169037" cy="155877"/>
          </a:xfrm>
          <a:prstGeom prst="rect">
            <a:avLst/>
          </a:prstGeom>
        </p:spPr>
        <p:txBody>
          <a:bodyPr vert="horz" wrap="square" lIns="0" tIns="3493" rIns="0" bIns="0" rtlCol="0">
            <a:spAutoFit/>
          </a:bodyPr>
          <a:lstStyle/>
          <a:p>
            <a:pPr marL="13970">
              <a:spcBef>
                <a:spcPts val="28"/>
              </a:spcBef>
            </a:pPr>
            <a:r>
              <a:rPr sz="990" spc="-28" dirty="0">
                <a:solidFill>
                  <a:srgbClr val="AEABAB"/>
                </a:solidFill>
                <a:latin typeface="Arial"/>
                <a:cs typeface="Arial"/>
              </a:rPr>
              <a:t>41</a:t>
            </a:r>
            <a:endParaRPr sz="990">
              <a:latin typeface="Arial"/>
              <a:cs typeface="Arial"/>
            </a:endParaRP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7AFF8B59-5D8E-4B49-9829-3656964AD209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3419856" y="7228332"/>
            <a:ext cx="3218688" cy="276999"/>
          </a:xfrm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D989A-AA3A-B546-837F-0DB440D819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3049" y="182262"/>
            <a:ext cx="9020665" cy="939312"/>
          </a:xfrm>
        </p:spPr>
        <p:txBody>
          <a:bodyPr spcFirstLastPara="1" wrap="square" lIns="75438" tIns="37719" rIns="75438" bIns="37719" anchor="ctr" anchorCtr="0">
            <a:normAutofit fontScale="90000"/>
          </a:bodyPr>
          <a:lstStyle/>
          <a:p>
            <a:r>
              <a:rPr lang="en-US" b="1" dirty="0">
                <a:ea typeface="Open Sans Light"/>
                <a:cs typeface="Open Sans Light"/>
              </a:rPr>
              <a:t> 5 global workforce shifts</a:t>
            </a:r>
            <a:r>
              <a:rPr lang="en-US" dirty="0">
                <a:ea typeface="Open Sans Light"/>
                <a:cs typeface="Open Sans Light"/>
              </a:rPr>
              <a:t> driving demand for badges</a:t>
            </a:r>
          </a:p>
        </p:txBody>
      </p:sp>
      <p:sp>
        <p:nvSpPr>
          <p:cNvPr id="16" name="Google Shape;1062;p87">
            <a:extLst>
              <a:ext uri="{FF2B5EF4-FFF2-40B4-BE49-F238E27FC236}">
                <a16:creationId xmlns:a16="http://schemas.microsoft.com/office/drawing/2014/main" id="{FA0B787F-4288-544E-B375-238C7E052AD9}"/>
              </a:ext>
            </a:extLst>
          </p:cNvPr>
          <p:cNvSpPr txBox="1"/>
          <p:nvPr/>
        </p:nvSpPr>
        <p:spPr>
          <a:xfrm>
            <a:off x="614023" y="2834894"/>
            <a:ext cx="1356406" cy="9140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75425" tIns="75425" rIns="75425" bIns="75425" anchor="t">
            <a:spAutoFit/>
          </a:bodyPr>
          <a:lstStyle>
            <a:lvl1pPr algn="ctr">
              <a:spcBef>
                <a:spcPts val="1000"/>
              </a:spcBef>
              <a:defRPr sz="1400" b="1"/>
            </a:lvl1pPr>
          </a:lstStyle>
          <a:p>
            <a:r>
              <a:rPr lang="en-ZA" sz="1650" dirty="0">
                <a:latin typeface="Quire Sans Pro Light"/>
                <a:ea typeface="Open Sans"/>
                <a:cs typeface="Open Sans"/>
              </a:rPr>
              <a:t>the automation of work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5211AD9-F4B9-9C44-AD45-4E864AE0BFEF}"/>
              </a:ext>
            </a:extLst>
          </p:cNvPr>
          <p:cNvSpPr txBox="1"/>
          <p:nvPr/>
        </p:nvSpPr>
        <p:spPr>
          <a:xfrm>
            <a:off x="480138" y="4527573"/>
            <a:ext cx="8359062" cy="3030830"/>
          </a:xfrm>
          <a:prstGeom prst="rect">
            <a:avLst/>
          </a:prstGeom>
          <a:noFill/>
        </p:spPr>
        <p:txBody>
          <a:bodyPr wrap="square" lIns="75438" tIns="37719" rIns="75438" bIns="37719" rtlCol="0" anchor="t">
            <a:spAutoFit/>
          </a:bodyPr>
          <a:lstStyle/>
          <a:p>
            <a:r>
              <a:rPr lang="en-GB" sz="2400" b="1" dirty="0">
                <a:latin typeface="Quire Sans Pro Light"/>
                <a:ea typeface="Open Sans Light"/>
                <a:cs typeface="Calibri"/>
              </a:rPr>
              <a:t>New technologies change in-demand skills.</a:t>
            </a:r>
            <a:br>
              <a:rPr lang="en-GB" sz="2400" b="1" dirty="0">
                <a:latin typeface="Quire Sans Pro Light"/>
                <a:ea typeface="Open Sans Light"/>
                <a:cs typeface="Calibri"/>
              </a:rPr>
            </a:br>
            <a:endParaRPr lang="en-US" sz="2400" dirty="0">
              <a:latin typeface="Quire Sans Pro Light"/>
              <a:ea typeface="Open Sans Light"/>
              <a:cs typeface="Open Sans Light"/>
            </a:endParaRPr>
          </a:p>
          <a:p>
            <a:r>
              <a:rPr lang="en-GB" sz="2400" dirty="0">
                <a:latin typeface="Quire Sans Pro Light"/>
                <a:ea typeface="Open Sans Light"/>
                <a:cs typeface="Calibri"/>
              </a:rPr>
              <a:t>The half-life of technical skills is shortening. </a:t>
            </a:r>
            <a:endParaRPr lang="en-US" sz="2400" dirty="0">
              <a:latin typeface="Quire Sans Pro Light"/>
              <a:ea typeface="Open Sans Light"/>
              <a:cs typeface="Open Sans Light"/>
            </a:endParaRPr>
          </a:p>
          <a:p>
            <a:endParaRPr lang="en-GB" sz="2400" dirty="0">
              <a:latin typeface="Quire Sans Pro Light"/>
              <a:ea typeface="Open Sans Light"/>
              <a:cs typeface="Calibri"/>
            </a:endParaRPr>
          </a:p>
          <a:p>
            <a:r>
              <a:rPr lang="en-GB" sz="2400" dirty="0">
                <a:latin typeface="Quire Sans Pro Light"/>
                <a:ea typeface="Open Sans Light"/>
                <a:cs typeface="Calibri"/>
              </a:rPr>
              <a:t>Robot-proof human skills will persist and differentiate.</a:t>
            </a:r>
          </a:p>
          <a:p>
            <a:endParaRPr lang="en-GB" sz="2400" dirty="0"/>
          </a:p>
          <a:p>
            <a:r>
              <a:rPr lang="en-GB" sz="2400" b="1" dirty="0">
                <a:latin typeface="Quire Sans Pro Light"/>
                <a:ea typeface="Open Sans Light"/>
                <a:cs typeface="Open Sans Light"/>
              </a:rPr>
              <a:t>1bn jobs will be transformed</a:t>
            </a:r>
            <a:r>
              <a:rPr lang="en-GB" sz="2400" dirty="0">
                <a:latin typeface="Quire Sans Pro Light"/>
                <a:ea typeface="Open Sans Light"/>
                <a:cs typeface="Open Sans Light"/>
              </a:rPr>
              <a:t> by technology in the next decade.</a:t>
            </a:r>
            <a:endParaRPr lang="en-GB" sz="2400" dirty="0"/>
          </a:p>
          <a:p>
            <a:endParaRPr lang="en-GB" sz="2400" dirty="0">
              <a:latin typeface="Quire Sans Pro Light"/>
              <a:ea typeface="Open Sans Light"/>
              <a:cs typeface="Open Sans Light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7C0CC920-2FFB-D612-6738-C3E6C7B00403}"/>
              </a:ext>
            </a:extLst>
          </p:cNvPr>
          <p:cNvSpPr/>
          <p:nvPr/>
        </p:nvSpPr>
        <p:spPr>
          <a:xfrm>
            <a:off x="517964" y="2525255"/>
            <a:ext cx="1556585" cy="1556585"/>
          </a:xfrm>
          <a:prstGeom prst="ellipse">
            <a:avLst/>
          </a:prstGeom>
          <a:noFill/>
          <a:ln w="889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V" sz="1980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D6F781DE-24F5-7801-F0A1-F7FAECA4130C}"/>
              </a:ext>
            </a:extLst>
          </p:cNvPr>
          <p:cNvSpPr/>
          <p:nvPr/>
        </p:nvSpPr>
        <p:spPr>
          <a:xfrm>
            <a:off x="2371611" y="2525255"/>
            <a:ext cx="1556585" cy="1556585"/>
          </a:xfrm>
          <a:prstGeom prst="ellipse">
            <a:avLst/>
          </a:prstGeom>
          <a:noFill/>
          <a:ln w="889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V" sz="1980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5E41E497-F9F2-E061-9B41-F46F4D1315F6}"/>
              </a:ext>
            </a:extLst>
          </p:cNvPr>
          <p:cNvSpPr/>
          <p:nvPr/>
        </p:nvSpPr>
        <p:spPr>
          <a:xfrm>
            <a:off x="4217750" y="2525255"/>
            <a:ext cx="1556585" cy="1556585"/>
          </a:xfrm>
          <a:prstGeom prst="ellipse">
            <a:avLst/>
          </a:prstGeom>
          <a:noFill/>
          <a:ln w="889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V" sz="1980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2AF901B5-887C-7698-40D3-D4A87D2F207A}"/>
              </a:ext>
            </a:extLst>
          </p:cNvPr>
          <p:cNvSpPr/>
          <p:nvPr/>
        </p:nvSpPr>
        <p:spPr>
          <a:xfrm>
            <a:off x="6078907" y="2525255"/>
            <a:ext cx="1556585" cy="1556585"/>
          </a:xfrm>
          <a:prstGeom prst="ellipse">
            <a:avLst/>
          </a:prstGeom>
          <a:noFill/>
          <a:ln w="88900">
            <a:solidFill>
              <a:srgbClr val="4E57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V" sz="1980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0360E21F-2893-2B6E-C754-79C85D18A3AC}"/>
              </a:ext>
            </a:extLst>
          </p:cNvPr>
          <p:cNvSpPr/>
          <p:nvPr/>
        </p:nvSpPr>
        <p:spPr>
          <a:xfrm>
            <a:off x="7956736" y="2525255"/>
            <a:ext cx="1556585" cy="1556585"/>
          </a:xfrm>
          <a:prstGeom prst="ellipse">
            <a:avLst/>
          </a:prstGeom>
          <a:noFill/>
          <a:ln w="889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V" sz="1980"/>
          </a:p>
        </p:txBody>
      </p:sp>
      <p:sp>
        <p:nvSpPr>
          <p:cNvPr id="7" name="Google Shape;1062;p87">
            <a:extLst>
              <a:ext uri="{FF2B5EF4-FFF2-40B4-BE49-F238E27FC236}">
                <a16:creationId xmlns:a16="http://schemas.microsoft.com/office/drawing/2014/main" id="{09E76536-F541-5F3F-600F-E4782C35B19D}"/>
              </a:ext>
            </a:extLst>
          </p:cNvPr>
          <p:cNvSpPr txBox="1"/>
          <p:nvPr/>
        </p:nvSpPr>
        <p:spPr>
          <a:xfrm>
            <a:off x="2427436" y="2891312"/>
            <a:ext cx="1356406" cy="6601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75425" tIns="75425" rIns="75425" bIns="75425" anchor="t">
            <a:spAutoFit/>
          </a:bodyPr>
          <a:lstStyle>
            <a:lvl1pPr algn="ctr">
              <a:spcBef>
                <a:spcPts val="1000"/>
              </a:spcBef>
              <a:defRPr sz="1400" b="1"/>
            </a:lvl1pPr>
          </a:lstStyle>
          <a:p>
            <a:r>
              <a:rPr lang="en-ZA" sz="1650" dirty="0">
                <a:solidFill>
                  <a:schemeClr val="bg1">
                    <a:lumMod val="50000"/>
                  </a:schemeClr>
                </a:solidFill>
                <a:latin typeface="Quire Sans Pro Light"/>
                <a:ea typeface="Open Sans"/>
                <a:cs typeface="Open Sans"/>
              </a:rPr>
              <a:t>the</a:t>
            </a:r>
            <a:br>
              <a:rPr lang="en-ZA" sz="1650" dirty="0">
                <a:solidFill>
                  <a:schemeClr val="bg1">
                    <a:lumMod val="50000"/>
                  </a:schemeClr>
                </a:solidFill>
                <a:latin typeface="Quire Sans Pro Light"/>
                <a:ea typeface="Open Sans"/>
                <a:cs typeface="Open Sans"/>
              </a:rPr>
            </a:br>
            <a:r>
              <a:rPr lang="en-ZA" sz="1650" dirty="0">
                <a:solidFill>
                  <a:schemeClr val="bg1">
                    <a:lumMod val="50000"/>
                  </a:schemeClr>
                </a:solidFill>
                <a:latin typeface="Quire Sans Pro Light"/>
                <a:ea typeface="Open Sans"/>
                <a:cs typeface="Open Sans"/>
              </a:rPr>
              <a:t> skills gap</a:t>
            </a:r>
          </a:p>
        </p:txBody>
      </p:sp>
      <p:sp>
        <p:nvSpPr>
          <p:cNvPr id="9" name="Google Shape;1062;p87">
            <a:extLst>
              <a:ext uri="{FF2B5EF4-FFF2-40B4-BE49-F238E27FC236}">
                <a16:creationId xmlns:a16="http://schemas.microsoft.com/office/drawing/2014/main" id="{C2AC0D47-2C2E-35E3-5356-0A1D9091D0C0}"/>
              </a:ext>
            </a:extLst>
          </p:cNvPr>
          <p:cNvSpPr txBox="1"/>
          <p:nvPr/>
        </p:nvSpPr>
        <p:spPr>
          <a:xfrm>
            <a:off x="6183216" y="3004147"/>
            <a:ext cx="1356406" cy="6093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75425" tIns="75425" rIns="75425" bIns="75425" anchor="t">
            <a:spAutoFit/>
          </a:bodyPr>
          <a:lstStyle>
            <a:lvl1pPr algn="ctr">
              <a:spcBef>
                <a:spcPts val="1000"/>
              </a:spcBef>
              <a:defRPr sz="1400" b="1"/>
            </a:lvl1pPr>
          </a:lstStyle>
          <a:p>
            <a:r>
              <a:rPr lang="en-ZA" sz="1485" dirty="0">
                <a:solidFill>
                  <a:schemeClr val="bg1">
                    <a:lumMod val="50000"/>
                  </a:schemeClr>
                </a:solidFill>
                <a:latin typeface="Quire Sans Pro Light"/>
                <a:ea typeface="Open Sans"/>
                <a:cs typeface="Open Sans"/>
              </a:rPr>
              <a:t>from roles to skills</a:t>
            </a:r>
          </a:p>
        </p:txBody>
      </p:sp>
      <p:sp>
        <p:nvSpPr>
          <p:cNvPr id="10" name="Google Shape;1062;p87">
            <a:extLst>
              <a:ext uri="{FF2B5EF4-FFF2-40B4-BE49-F238E27FC236}">
                <a16:creationId xmlns:a16="http://schemas.microsoft.com/office/drawing/2014/main" id="{A840DD37-6880-78C9-BDF1-F46CA788890D}"/>
              </a:ext>
            </a:extLst>
          </p:cNvPr>
          <p:cNvSpPr txBox="1"/>
          <p:nvPr/>
        </p:nvSpPr>
        <p:spPr>
          <a:xfrm>
            <a:off x="8085286" y="3068622"/>
            <a:ext cx="1356406" cy="3808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75424" tIns="75424" rIns="75424" bIns="75424" anchor="t">
            <a:spAutoFit/>
          </a:bodyPr>
          <a:lstStyle>
            <a:lvl1pPr algn="ctr">
              <a:spcBef>
                <a:spcPts val="1000"/>
              </a:spcBef>
              <a:defRPr sz="1400" b="1"/>
            </a:lvl1pPr>
          </a:lstStyle>
          <a:p>
            <a:r>
              <a:rPr lang="en-ZA" sz="1485" dirty="0">
                <a:solidFill>
                  <a:schemeClr val="bg1">
                    <a:lumMod val="50000"/>
                  </a:schemeClr>
                </a:solidFill>
                <a:latin typeface="Quire Sans Pro Light"/>
                <a:ea typeface="Open Sans"/>
                <a:cs typeface="Open Sans"/>
              </a:rPr>
              <a:t>agile careers</a:t>
            </a:r>
          </a:p>
        </p:txBody>
      </p:sp>
      <p:sp>
        <p:nvSpPr>
          <p:cNvPr id="11" name="Google Shape;1062;p87">
            <a:extLst>
              <a:ext uri="{FF2B5EF4-FFF2-40B4-BE49-F238E27FC236}">
                <a16:creationId xmlns:a16="http://schemas.microsoft.com/office/drawing/2014/main" id="{F0E7D9D6-F863-ABE9-8BAA-B6562469E18C}"/>
              </a:ext>
            </a:extLst>
          </p:cNvPr>
          <p:cNvSpPr txBox="1"/>
          <p:nvPr/>
        </p:nvSpPr>
        <p:spPr>
          <a:xfrm>
            <a:off x="4317839" y="3005509"/>
            <a:ext cx="1356406" cy="6601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75425" tIns="75425" rIns="75425" bIns="75425" anchor="t">
            <a:spAutoFit/>
          </a:bodyPr>
          <a:lstStyle>
            <a:lvl1pPr algn="ctr">
              <a:spcBef>
                <a:spcPts val="1000"/>
              </a:spcBef>
              <a:defRPr sz="1400" b="1"/>
            </a:lvl1pPr>
          </a:lstStyle>
          <a:p>
            <a:r>
              <a:rPr lang="en-ZA" sz="1650" dirty="0">
                <a:solidFill>
                  <a:schemeClr val="bg1">
                    <a:lumMod val="50000"/>
                  </a:schemeClr>
                </a:solidFill>
                <a:latin typeface="Quire Sans Pro Light"/>
                <a:ea typeface="Open Sans"/>
                <a:cs typeface="Open Sans"/>
              </a:rPr>
              <a:t>demographic shif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7018076-3B7D-9A30-0E3F-618EA02392ED}"/>
              </a:ext>
            </a:extLst>
          </p:cNvPr>
          <p:cNvSpPr txBox="1"/>
          <p:nvPr/>
        </p:nvSpPr>
        <p:spPr>
          <a:xfrm>
            <a:off x="-327340" y="7334935"/>
            <a:ext cx="6510556" cy="2157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75438" tIns="37719" rIns="75438" bIns="37719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en-US" sz="907" dirty="0">
                <a:solidFill>
                  <a:schemeClr val="tx1">
                    <a:lumMod val="75000"/>
                    <a:lumOff val="25000"/>
                  </a:schemeClr>
                </a:solidFill>
                <a:latin typeface="Quire Sans Pro Light"/>
                <a:cs typeface="Calibri"/>
              </a:rPr>
              <a:t>Sources:  OECD, McKinsey Global Institute, Deloitte, PwC Global Workforce Survey, </a:t>
            </a:r>
            <a:r>
              <a:rPr lang="en-GB" sz="907" dirty="0">
                <a:solidFill>
                  <a:schemeClr val="tx1">
                    <a:lumMod val="75000"/>
                    <a:lumOff val="25000"/>
                  </a:schemeClr>
                </a:solidFill>
                <a:latin typeface="Quire Sans Pro Light"/>
                <a:cs typeface="Calibri"/>
              </a:rPr>
              <a:t>Alphabet/Google </a:t>
            </a:r>
            <a:r>
              <a:rPr lang="en-GB" sz="907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Quire Sans Pro Light"/>
                <a:cs typeface="Calibri"/>
              </a:rPr>
              <a:t>FutureSkills</a:t>
            </a:r>
            <a:endParaRPr lang="en-GB" sz="907" dirty="0">
              <a:solidFill>
                <a:schemeClr val="tx1">
                  <a:lumMod val="75000"/>
                  <a:lumOff val="25000"/>
                </a:schemeClr>
              </a:solidFill>
              <a:latin typeface="Quire Sans Pro Light"/>
              <a:cs typeface="Calibri"/>
            </a:endParaRPr>
          </a:p>
        </p:txBody>
      </p:sp>
      <p:sp>
        <p:nvSpPr>
          <p:cNvPr id="3" name="Google Shape;348;p48">
            <a:extLst>
              <a:ext uri="{FF2B5EF4-FFF2-40B4-BE49-F238E27FC236}">
                <a16:creationId xmlns:a16="http://schemas.microsoft.com/office/drawing/2014/main" id="{E0E0530B-701B-19BE-FB2E-D4479FB2B163}"/>
              </a:ext>
            </a:extLst>
          </p:cNvPr>
          <p:cNvSpPr txBox="1">
            <a:spLocks/>
          </p:cNvSpPr>
          <p:nvPr/>
        </p:nvSpPr>
        <p:spPr>
          <a:xfrm>
            <a:off x="7162800" y="7315200"/>
            <a:ext cx="2790915" cy="301228"/>
          </a:xfrm>
          <a:prstGeom prst="rect">
            <a:avLst/>
          </a:prstGeom>
        </p:spPr>
        <p:txBody>
          <a:bodyPr spcFirstLastPara="1" vert="horz" wrap="square" lIns="100568" tIns="100568" rIns="100568" bIns="100568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07" dirty="0">
                <a:solidFill>
                  <a:schemeClr val="bg2">
                    <a:lumMod val="75000"/>
                  </a:schemeClr>
                </a:solidFill>
              </a:rPr>
              <a:t>© 2012-2023 </a:t>
            </a:r>
            <a:r>
              <a:rPr lang="en-US" sz="907" dirty="0" err="1">
                <a:solidFill>
                  <a:schemeClr val="bg2">
                    <a:lumMod val="75000"/>
                  </a:schemeClr>
                </a:solidFill>
              </a:rPr>
              <a:t>Credly</a:t>
            </a:r>
            <a:r>
              <a:rPr lang="en-US" sz="907" dirty="0">
                <a:solidFill>
                  <a:schemeClr val="bg2">
                    <a:lumMod val="75000"/>
                  </a:schemeClr>
                </a:solidFill>
              </a:rPr>
              <a:t>, Inc | Proprietary | </a:t>
            </a:r>
            <a:fld id="{00000000-1234-1234-1234-123412341234}" type="slidenum">
              <a:rPr lang="en-US" sz="907" dirty="0">
                <a:solidFill>
                  <a:schemeClr val="bg2">
                    <a:lumMod val="75000"/>
                  </a:schemeClr>
                </a:solidFill>
              </a:rPr>
              <a:pPr algn="r"/>
              <a:t>3</a:t>
            </a:fld>
            <a:endParaRPr lang="en-US" sz="907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4C76756-8358-D229-2708-C7591B4457CD}"/>
              </a:ext>
            </a:extLst>
          </p:cNvPr>
          <p:cNvSpPr/>
          <p:nvPr/>
        </p:nvSpPr>
        <p:spPr>
          <a:xfrm>
            <a:off x="381000" y="2459056"/>
            <a:ext cx="1846257" cy="173194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4847561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D989A-AA3A-B546-837F-0DB440D819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9746" y="278902"/>
            <a:ext cx="8906254" cy="939312"/>
          </a:xfrm>
        </p:spPr>
        <p:txBody>
          <a:bodyPr spcFirstLastPara="1" wrap="square" lIns="75438" tIns="37719" rIns="75438" bIns="37719" anchor="ctr" anchorCtr="0">
            <a:normAutofit fontScale="90000"/>
          </a:bodyPr>
          <a:lstStyle/>
          <a:p>
            <a:r>
              <a:rPr lang="en-US" b="1" dirty="0">
                <a:ea typeface="Open Sans Light"/>
                <a:cs typeface="Open Sans Light"/>
              </a:rPr>
              <a:t> 5 global workforce shifts</a:t>
            </a:r>
            <a:r>
              <a:rPr lang="en-US" dirty="0">
                <a:ea typeface="Open Sans Light"/>
                <a:cs typeface="Open Sans Light"/>
              </a:rPr>
              <a:t> driving demand for badges</a:t>
            </a:r>
          </a:p>
        </p:txBody>
      </p:sp>
      <p:sp>
        <p:nvSpPr>
          <p:cNvPr id="16" name="Google Shape;1062;p87">
            <a:extLst>
              <a:ext uri="{FF2B5EF4-FFF2-40B4-BE49-F238E27FC236}">
                <a16:creationId xmlns:a16="http://schemas.microsoft.com/office/drawing/2014/main" id="{FA0B787F-4288-544E-B375-238C7E052AD9}"/>
              </a:ext>
            </a:extLst>
          </p:cNvPr>
          <p:cNvSpPr txBox="1"/>
          <p:nvPr/>
        </p:nvSpPr>
        <p:spPr>
          <a:xfrm>
            <a:off x="614023" y="2834894"/>
            <a:ext cx="1356406" cy="9140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75425" tIns="75425" rIns="75425" bIns="75425" anchor="t">
            <a:spAutoFit/>
          </a:bodyPr>
          <a:lstStyle>
            <a:lvl1pPr algn="ctr">
              <a:spcBef>
                <a:spcPts val="1000"/>
              </a:spcBef>
              <a:defRPr sz="1400" b="1"/>
            </a:lvl1pPr>
          </a:lstStyle>
          <a:p>
            <a:r>
              <a:rPr lang="en-ZA" sz="1650" dirty="0">
                <a:solidFill>
                  <a:schemeClr val="bg1">
                    <a:lumMod val="50000"/>
                  </a:schemeClr>
                </a:solidFill>
                <a:latin typeface="Quire Sans Pro Light"/>
                <a:ea typeface="Open Sans"/>
                <a:cs typeface="Open Sans"/>
              </a:rPr>
              <a:t>the automation of work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5F57E93-2BC3-0E4B-A8BC-DB2853F0292B}"/>
              </a:ext>
            </a:extLst>
          </p:cNvPr>
          <p:cNvSpPr txBox="1"/>
          <p:nvPr/>
        </p:nvSpPr>
        <p:spPr>
          <a:xfrm>
            <a:off x="2404438" y="4417800"/>
            <a:ext cx="6663362" cy="1922834"/>
          </a:xfrm>
          <a:prstGeom prst="rect">
            <a:avLst/>
          </a:prstGeom>
          <a:noFill/>
        </p:spPr>
        <p:txBody>
          <a:bodyPr wrap="square" lIns="75438" tIns="37719" rIns="75438" bIns="37719" rtlCol="0" anchor="t">
            <a:spAutoFit/>
          </a:bodyPr>
          <a:lstStyle/>
          <a:p>
            <a:r>
              <a:rPr lang="en-GB" sz="2400" b="1" dirty="0">
                <a:latin typeface="Quire Sans Pro Light"/>
                <a:ea typeface="Open Sans Light"/>
                <a:cs typeface="Open Sans Light"/>
              </a:rPr>
              <a:t>85m jobs may be unfilled by 2030</a:t>
            </a:r>
            <a:r>
              <a:rPr lang="en-GB" sz="2400" dirty="0">
                <a:latin typeface="Quire Sans Pro Light"/>
                <a:ea typeface="Open Sans Light"/>
                <a:cs typeface="Open Sans Light"/>
              </a:rPr>
              <a:t> due to skills shortages, at a cost of $8.5tn </a:t>
            </a:r>
          </a:p>
          <a:p>
            <a:endParaRPr lang="en-GB" sz="2400" dirty="0">
              <a:latin typeface="Quire Sans Pro Light"/>
              <a:ea typeface="Open Sans Light"/>
              <a:cs typeface="Open Sans Light"/>
            </a:endParaRPr>
          </a:p>
          <a:p>
            <a:r>
              <a:rPr lang="en-GB" sz="2400" dirty="0">
                <a:latin typeface="Quire Sans Pro Light"/>
                <a:ea typeface="Open Sans Light"/>
                <a:cs typeface="Open Sans Light"/>
              </a:rPr>
              <a:t>70% of  execs  see talent shortages as the most important driver for skills-based capabilities. 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7C0CC920-2FFB-D612-6738-C3E6C7B00403}"/>
              </a:ext>
            </a:extLst>
          </p:cNvPr>
          <p:cNvSpPr/>
          <p:nvPr/>
        </p:nvSpPr>
        <p:spPr>
          <a:xfrm>
            <a:off x="517964" y="2525255"/>
            <a:ext cx="1556585" cy="1556585"/>
          </a:xfrm>
          <a:prstGeom prst="ellipse">
            <a:avLst/>
          </a:prstGeom>
          <a:noFill/>
          <a:ln w="889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V" sz="1980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D6F781DE-24F5-7801-F0A1-F7FAECA4130C}"/>
              </a:ext>
            </a:extLst>
          </p:cNvPr>
          <p:cNvSpPr/>
          <p:nvPr/>
        </p:nvSpPr>
        <p:spPr>
          <a:xfrm>
            <a:off x="2371611" y="2525255"/>
            <a:ext cx="1556585" cy="1556585"/>
          </a:xfrm>
          <a:prstGeom prst="ellipse">
            <a:avLst/>
          </a:prstGeom>
          <a:noFill/>
          <a:ln w="889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V" sz="1980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5E41E497-F9F2-E061-9B41-F46F4D1315F6}"/>
              </a:ext>
            </a:extLst>
          </p:cNvPr>
          <p:cNvSpPr/>
          <p:nvPr/>
        </p:nvSpPr>
        <p:spPr>
          <a:xfrm>
            <a:off x="4217750" y="2525255"/>
            <a:ext cx="1556585" cy="1556585"/>
          </a:xfrm>
          <a:prstGeom prst="ellipse">
            <a:avLst/>
          </a:prstGeom>
          <a:noFill/>
          <a:ln w="889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V" sz="1980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2AF901B5-887C-7698-40D3-D4A87D2F207A}"/>
              </a:ext>
            </a:extLst>
          </p:cNvPr>
          <p:cNvSpPr/>
          <p:nvPr/>
        </p:nvSpPr>
        <p:spPr>
          <a:xfrm>
            <a:off x="6078907" y="2525255"/>
            <a:ext cx="1556585" cy="1556585"/>
          </a:xfrm>
          <a:prstGeom prst="ellipse">
            <a:avLst/>
          </a:prstGeom>
          <a:noFill/>
          <a:ln w="88900">
            <a:solidFill>
              <a:srgbClr val="4E57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V" sz="1980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0360E21F-2893-2B6E-C754-79C85D18A3AC}"/>
              </a:ext>
            </a:extLst>
          </p:cNvPr>
          <p:cNvSpPr/>
          <p:nvPr/>
        </p:nvSpPr>
        <p:spPr>
          <a:xfrm>
            <a:off x="7956736" y="2525255"/>
            <a:ext cx="1556585" cy="1556585"/>
          </a:xfrm>
          <a:prstGeom prst="ellipse">
            <a:avLst/>
          </a:prstGeom>
          <a:noFill/>
          <a:ln w="889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V" sz="1980"/>
          </a:p>
        </p:txBody>
      </p:sp>
      <p:sp>
        <p:nvSpPr>
          <p:cNvPr id="7" name="Google Shape;1062;p87">
            <a:extLst>
              <a:ext uri="{FF2B5EF4-FFF2-40B4-BE49-F238E27FC236}">
                <a16:creationId xmlns:a16="http://schemas.microsoft.com/office/drawing/2014/main" id="{09E76536-F541-5F3F-600F-E4782C35B19D}"/>
              </a:ext>
            </a:extLst>
          </p:cNvPr>
          <p:cNvSpPr txBox="1"/>
          <p:nvPr/>
        </p:nvSpPr>
        <p:spPr>
          <a:xfrm>
            <a:off x="2427436" y="2891312"/>
            <a:ext cx="1356406" cy="6601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75425" tIns="75425" rIns="75425" bIns="75425" anchor="t">
            <a:spAutoFit/>
          </a:bodyPr>
          <a:lstStyle>
            <a:lvl1pPr algn="ctr">
              <a:spcBef>
                <a:spcPts val="1000"/>
              </a:spcBef>
              <a:defRPr sz="1400" b="1"/>
            </a:lvl1pPr>
          </a:lstStyle>
          <a:p>
            <a:r>
              <a:rPr lang="en-ZA" sz="1650">
                <a:latin typeface="Quire Sans Pro Light"/>
                <a:ea typeface="Open Sans"/>
                <a:cs typeface="Open Sans"/>
              </a:rPr>
              <a:t>the</a:t>
            </a:r>
            <a:br>
              <a:rPr lang="en-ZA" sz="1650">
                <a:latin typeface="Quire Sans Pro Light"/>
                <a:ea typeface="Open Sans"/>
                <a:cs typeface="Open Sans"/>
              </a:rPr>
            </a:br>
            <a:r>
              <a:rPr lang="en-ZA" sz="1650">
                <a:latin typeface="Quire Sans Pro Light"/>
                <a:ea typeface="Open Sans"/>
                <a:cs typeface="Open Sans"/>
              </a:rPr>
              <a:t> skills gap</a:t>
            </a:r>
          </a:p>
        </p:txBody>
      </p:sp>
      <p:sp>
        <p:nvSpPr>
          <p:cNvPr id="9" name="Google Shape;1062;p87">
            <a:extLst>
              <a:ext uri="{FF2B5EF4-FFF2-40B4-BE49-F238E27FC236}">
                <a16:creationId xmlns:a16="http://schemas.microsoft.com/office/drawing/2014/main" id="{C2AC0D47-2C2E-35E3-5356-0A1D9091D0C0}"/>
              </a:ext>
            </a:extLst>
          </p:cNvPr>
          <p:cNvSpPr txBox="1"/>
          <p:nvPr/>
        </p:nvSpPr>
        <p:spPr>
          <a:xfrm>
            <a:off x="6179797" y="3004630"/>
            <a:ext cx="1356406" cy="6093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75425" tIns="75425" rIns="75425" bIns="75425" anchor="t">
            <a:spAutoFit/>
          </a:bodyPr>
          <a:lstStyle>
            <a:lvl1pPr algn="ctr">
              <a:spcBef>
                <a:spcPts val="1000"/>
              </a:spcBef>
              <a:defRPr sz="1400" b="1"/>
            </a:lvl1pPr>
          </a:lstStyle>
          <a:p>
            <a:r>
              <a:rPr lang="en-ZA" sz="1485" dirty="0">
                <a:solidFill>
                  <a:schemeClr val="bg1">
                    <a:lumMod val="50000"/>
                  </a:schemeClr>
                </a:solidFill>
                <a:latin typeface="Quire Sans Pro Light"/>
                <a:ea typeface="Open Sans"/>
                <a:cs typeface="Open Sans"/>
              </a:rPr>
              <a:t>from roles to skills</a:t>
            </a:r>
          </a:p>
        </p:txBody>
      </p:sp>
      <p:sp>
        <p:nvSpPr>
          <p:cNvPr id="10" name="Google Shape;1062;p87">
            <a:extLst>
              <a:ext uri="{FF2B5EF4-FFF2-40B4-BE49-F238E27FC236}">
                <a16:creationId xmlns:a16="http://schemas.microsoft.com/office/drawing/2014/main" id="{A840DD37-6880-78C9-BDF1-F46CA788890D}"/>
              </a:ext>
            </a:extLst>
          </p:cNvPr>
          <p:cNvSpPr txBox="1"/>
          <p:nvPr/>
        </p:nvSpPr>
        <p:spPr>
          <a:xfrm>
            <a:off x="8087971" y="3043221"/>
            <a:ext cx="1356406" cy="3808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75424" tIns="75424" rIns="75424" bIns="75424" anchor="t">
            <a:spAutoFit/>
          </a:bodyPr>
          <a:lstStyle>
            <a:lvl1pPr algn="ctr">
              <a:spcBef>
                <a:spcPts val="1000"/>
              </a:spcBef>
              <a:defRPr sz="1400" b="1"/>
            </a:lvl1pPr>
          </a:lstStyle>
          <a:p>
            <a:r>
              <a:rPr lang="en-ZA" sz="1485" dirty="0">
                <a:solidFill>
                  <a:schemeClr val="bg1">
                    <a:lumMod val="50000"/>
                  </a:schemeClr>
                </a:solidFill>
                <a:latin typeface="Quire Sans Pro Light"/>
                <a:ea typeface="Open Sans"/>
                <a:cs typeface="Open Sans"/>
              </a:rPr>
              <a:t>agile careers</a:t>
            </a:r>
          </a:p>
        </p:txBody>
      </p:sp>
      <p:sp>
        <p:nvSpPr>
          <p:cNvPr id="11" name="Google Shape;1062;p87">
            <a:extLst>
              <a:ext uri="{FF2B5EF4-FFF2-40B4-BE49-F238E27FC236}">
                <a16:creationId xmlns:a16="http://schemas.microsoft.com/office/drawing/2014/main" id="{F0E7D9D6-F863-ABE9-8BAA-B6562469E18C}"/>
              </a:ext>
            </a:extLst>
          </p:cNvPr>
          <p:cNvSpPr txBox="1"/>
          <p:nvPr/>
        </p:nvSpPr>
        <p:spPr>
          <a:xfrm>
            <a:off x="4317839" y="3005509"/>
            <a:ext cx="1356406" cy="6601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75425" tIns="75425" rIns="75425" bIns="75425" anchor="t">
            <a:spAutoFit/>
          </a:bodyPr>
          <a:lstStyle>
            <a:lvl1pPr algn="ctr">
              <a:spcBef>
                <a:spcPts val="1000"/>
              </a:spcBef>
              <a:defRPr sz="1400" b="1"/>
            </a:lvl1pPr>
          </a:lstStyle>
          <a:p>
            <a:r>
              <a:rPr lang="en-ZA" sz="1650" dirty="0">
                <a:solidFill>
                  <a:schemeClr val="bg1">
                    <a:lumMod val="50000"/>
                  </a:schemeClr>
                </a:solidFill>
                <a:latin typeface="Quire Sans Pro Light"/>
                <a:ea typeface="Open Sans"/>
                <a:cs typeface="Open Sans"/>
              </a:rPr>
              <a:t>demographic shif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7018076-3B7D-9A30-0E3F-618EA02392ED}"/>
              </a:ext>
            </a:extLst>
          </p:cNvPr>
          <p:cNvSpPr txBox="1"/>
          <p:nvPr/>
        </p:nvSpPr>
        <p:spPr>
          <a:xfrm>
            <a:off x="-327340" y="7334935"/>
            <a:ext cx="6510556" cy="2157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75438" tIns="37719" rIns="75438" bIns="37719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en-US" sz="907" dirty="0">
                <a:solidFill>
                  <a:schemeClr val="tx1">
                    <a:lumMod val="75000"/>
                    <a:lumOff val="25000"/>
                  </a:schemeClr>
                </a:solidFill>
                <a:latin typeface="Quire Sans Pro Light"/>
                <a:cs typeface="Calibri"/>
              </a:rPr>
              <a:t>Sources:  OECD, McKinsey Global Institute, Deloitte, PwC Global Workforce Survey, </a:t>
            </a:r>
            <a:r>
              <a:rPr lang="en-GB" sz="907" dirty="0">
                <a:solidFill>
                  <a:schemeClr val="tx1">
                    <a:lumMod val="75000"/>
                    <a:lumOff val="25000"/>
                  </a:schemeClr>
                </a:solidFill>
                <a:latin typeface="Quire Sans Pro Light"/>
                <a:cs typeface="Calibri"/>
              </a:rPr>
              <a:t>Alphabet/Google </a:t>
            </a:r>
            <a:r>
              <a:rPr lang="en-GB" sz="907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Quire Sans Pro Light"/>
                <a:cs typeface="Calibri"/>
              </a:rPr>
              <a:t>FutureSkills</a:t>
            </a:r>
            <a:endParaRPr lang="en-GB" sz="907" dirty="0">
              <a:solidFill>
                <a:schemeClr val="tx1">
                  <a:lumMod val="75000"/>
                  <a:lumOff val="25000"/>
                </a:schemeClr>
              </a:solidFill>
              <a:latin typeface="Quire Sans Pro Light"/>
              <a:cs typeface="Calibri"/>
            </a:endParaRPr>
          </a:p>
        </p:txBody>
      </p:sp>
      <p:sp>
        <p:nvSpPr>
          <p:cNvPr id="3" name="Google Shape;348;p48">
            <a:extLst>
              <a:ext uri="{FF2B5EF4-FFF2-40B4-BE49-F238E27FC236}">
                <a16:creationId xmlns:a16="http://schemas.microsoft.com/office/drawing/2014/main" id="{E0E0530B-701B-19BE-FB2E-D4479FB2B163}"/>
              </a:ext>
            </a:extLst>
          </p:cNvPr>
          <p:cNvSpPr txBox="1">
            <a:spLocks/>
          </p:cNvSpPr>
          <p:nvPr/>
        </p:nvSpPr>
        <p:spPr>
          <a:xfrm>
            <a:off x="7162800" y="7315200"/>
            <a:ext cx="2790915" cy="301228"/>
          </a:xfrm>
          <a:prstGeom prst="rect">
            <a:avLst/>
          </a:prstGeom>
        </p:spPr>
        <p:txBody>
          <a:bodyPr spcFirstLastPara="1" vert="horz" wrap="square" lIns="100568" tIns="100568" rIns="100568" bIns="100568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07" dirty="0">
                <a:solidFill>
                  <a:schemeClr val="bg2">
                    <a:lumMod val="75000"/>
                  </a:schemeClr>
                </a:solidFill>
              </a:rPr>
              <a:t>© 2012-2023 </a:t>
            </a:r>
            <a:r>
              <a:rPr lang="en-US" sz="907" dirty="0" err="1">
                <a:solidFill>
                  <a:schemeClr val="bg2">
                    <a:lumMod val="75000"/>
                  </a:schemeClr>
                </a:solidFill>
              </a:rPr>
              <a:t>Credly</a:t>
            </a:r>
            <a:r>
              <a:rPr lang="en-US" sz="907" dirty="0">
                <a:solidFill>
                  <a:schemeClr val="bg2">
                    <a:lumMod val="75000"/>
                  </a:schemeClr>
                </a:solidFill>
              </a:rPr>
              <a:t>, Inc | Proprietary | </a:t>
            </a:r>
            <a:fld id="{00000000-1234-1234-1234-123412341234}" type="slidenum">
              <a:rPr lang="en-US" sz="907" dirty="0">
                <a:solidFill>
                  <a:schemeClr val="bg2">
                    <a:lumMod val="75000"/>
                  </a:schemeClr>
                </a:solidFill>
              </a:rPr>
              <a:pPr algn="r"/>
              <a:t>4</a:t>
            </a:fld>
            <a:endParaRPr lang="en-US" sz="907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36C5E8E-0CE9-90FB-89DF-BF46284CCB5A}"/>
              </a:ext>
            </a:extLst>
          </p:cNvPr>
          <p:cNvSpPr/>
          <p:nvPr/>
        </p:nvSpPr>
        <p:spPr>
          <a:xfrm>
            <a:off x="2205784" y="2468077"/>
            <a:ext cx="1846257" cy="173194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9800821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D989A-AA3A-B546-837F-0DB440D819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1654" y="371874"/>
            <a:ext cx="8924345" cy="939312"/>
          </a:xfrm>
        </p:spPr>
        <p:txBody>
          <a:bodyPr spcFirstLastPara="1" wrap="square" lIns="75438" tIns="37719" rIns="75438" bIns="37719" anchor="ctr" anchorCtr="0">
            <a:normAutofit fontScale="90000"/>
          </a:bodyPr>
          <a:lstStyle/>
          <a:p>
            <a:r>
              <a:rPr lang="en-US" b="1" dirty="0">
                <a:ea typeface="Open Sans Light"/>
                <a:cs typeface="Open Sans Light"/>
              </a:rPr>
              <a:t> 5 global workforce shifts</a:t>
            </a:r>
            <a:r>
              <a:rPr lang="en-US" dirty="0">
                <a:ea typeface="Open Sans Light"/>
                <a:cs typeface="Open Sans Light"/>
              </a:rPr>
              <a:t> driving demand for badges</a:t>
            </a:r>
          </a:p>
        </p:txBody>
      </p:sp>
      <p:sp>
        <p:nvSpPr>
          <p:cNvPr id="16" name="Google Shape;1062;p87">
            <a:extLst>
              <a:ext uri="{FF2B5EF4-FFF2-40B4-BE49-F238E27FC236}">
                <a16:creationId xmlns:a16="http://schemas.microsoft.com/office/drawing/2014/main" id="{FA0B787F-4288-544E-B375-238C7E052AD9}"/>
              </a:ext>
            </a:extLst>
          </p:cNvPr>
          <p:cNvSpPr txBox="1"/>
          <p:nvPr/>
        </p:nvSpPr>
        <p:spPr>
          <a:xfrm>
            <a:off x="614023" y="2834894"/>
            <a:ext cx="1356406" cy="9140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75425" tIns="75425" rIns="75425" bIns="75425" anchor="t">
            <a:spAutoFit/>
          </a:bodyPr>
          <a:lstStyle>
            <a:lvl1pPr algn="ctr">
              <a:spcBef>
                <a:spcPts val="1000"/>
              </a:spcBef>
              <a:defRPr sz="1400" b="1"/>
            </a:lvl1pPr>
          </a:lstStyle>
          <a:p>
            <a:r>
              <a:rPr lang="en-ZA" sz="1650">
                <a:latin typeface="Quire Sans Pro Light"/>
                <a:ea typeface="Open Sans"/>
                <a:cs typeface="Open Sans"/>
              </a:rPr>
              <a:t>the automation of work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29CEF56-6843-0545-B050-CAB9E8784B3C}"/>
              </a:ext>
            </a:extLst>
          </p:cNvPr>
          <p:cNvSpPr txBox="1"/>
          <p:nvPr/>
        </p:nvSpPr>
        <p:spPr>
          <a:xfrm>
            <a:off x="1970429" y="4417799"/>
            <a:ext cx="6868772" cy="2292166"/>
          </a:xfrm>
          <a:prstGeom prst="rect">
            <a:avLst/>
          </a:prstGeom>
          <a:noFill/>
        </p:spPr>
        <p:txBody>
          <a:bodyPr wrap="square" lIns="75438" tIns="37719" rIns="75438" bIns="37719" rtlCol="0" anchor="t">
            <a:spAutoFit/>
          </a:bodyPr>
          <a:lstStyle/>
          <a:p>
            <a:pPr algn="ctr"/>
            <a:r>
              <a:rPr lang="en-GB" sz="2400" b="1" dirty="0">
                <a:latin typeface="Quire Sans Pro Light"/>
                <a:ea typeface="Open Sans Light"/>
                <a:cs typeface="Calibri"/>
              </a:rPr>
              <a:t>Age and multicultural workforce profile changes</a:t>
            </a:r>
          </a:p>
          <a:p>
            <a:pPr algn="ctr"/>
            <a:endParaRPr lang="en-US" sz="2400" dirty="0">
              <a:latin typeface="Quire Sans Pro Light"/>
              <a:ea typeface="Open Sans Light"/>
              <a:cs typeface="Open Sans Light"/>
            </a:endParaRPr>
          </a:p>
          <a:p>
            <a:pPr algn="ctr"/>
            <a:r>
              <a:rPr lang="en-GB" sz="2400" dirty="0">
                <a:latin typeface="Quire Sans Pro Light"/>
                <a:ea typeface="Open Sans Light"/>
                <a:cs typeface="Calibri"/>
              </a:rPr>
              <a:t>Millennial expectation for recognition and ongoing development </a:t>
            </a:r>
            <a:endParaRPr lang="en-US" sz="2400" dirty="0">
              <a:latin typeface="Quire Sans Pro Light"/>
              <a:ea typeface="Open Sans Light"/>
              <a:cs typeface="Open Sans Light"/>
            </a:endParaRPr>
          </a:p>
          <a:p>
            <a:pPr algn="ctr"/>
            <a:endParaRPr lang="en-GB" sz="2400" dirty="0">
              <a:latin typeface="Quire Sans Pro Light"/>
              <a:ea typeface="Open Sans Light"/>
              <a:cs typeface="Calibri"/>
            </a:endParaRPr>
          </a:p>
          <a:p>
            <a:pPr algn="ctr"/>
            <a:r>
              <a:rPr lang="en-GB" sz="2400" dirty="0">
                <a:latin typeface="Quire Sans Pro Light"/>
                <a:ea typeface="Open Sans Light"/>
                <a:cs typeface="Calibri"/>
              </a:rPr>
              <a:t>Skills-based hiring addressing bias and diversity</a:t>
            </a:r>
            <a:endParaRPr lang="en-GB" sz="2400" dirty="0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7C0CC920-2FFB-D612-6738-C3E6C7B00403}"/>
              </a:ext>
            </a:extLst>
          </p:cNvPr>
          <p:cNvSpPr/>
          <p:nvPr/>
        </p:nvSpPr>
        <p:spPr>
          <a:xfrm>
            <a:off x="517964" y="2525255"/>
            <a:ext cx="1556585" cy="1556585"/>
          </a:xfrm>
          <a:prstGeom prst="ellipse">
            <a:avLst/>
          </a:prstGeom>
          <a:noFill/>
          <a:ln w="889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V" sz="1980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D6F781DE-24F5-7801-F0A1-F7FAECA4130C}"/>
              </a:ext>
            </a:extLst>
          </p:cNvPr>
          <p:cNvSpPr/>
          <p:nvPr/>
        </p:nvSpPr>
        <p:spPr>
          <a:xfrm>
            <a:off x="2371611" y="2525255"/>
            <a:ext cx="1556585" cy="1556585"/>
          </a:xfrm>
          <a:prstGeom prst="ellipse">
            <a:avLst/>
          </a:prstGeom>
          <a:noFill/>
          <a:ln w="889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V" sz="1980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5E41E497-F9F2-E061-9B41-F46F4D1315F6}"/>
              </a:ext>
            </a:extLst>
          </p:cNvPr>
          <p:cNvSpPr/>
          <p:nvPr/>
        </p:nvSpPr>
        <p:spPr>
          <a:xfrm>
            <a:off x="4217750" y="2525255"/>
            <a:ext cx="1556585" cy="1556585"/>
          </a:xfrm>
          <a:prstGeom prst="ellipse">
            <a:avLst/>
          </a:prstGeom>
          <a:noFill/>
          <a:ln w="889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V" sz="1980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2AF901B5-887C-7698-40D3-D4A87D2F207A}"/>
              </a:ext>
            </a:extLst>
          </p:cNvPr>
          <p:cNvSpPr/>
          <p:nvPr/>
        </p:nvSpPr>
        <p:spPr>
          <a:xfrm>
            <a:off x="6078907" y="2525255"/>
            <a:ext cx="1556585" cy="1556585"/>
          </a:xfrm>
          <a:prstGeom prst="ellipse">
            <a:avLst/>
          </a:prstGeom>
          <a:noFill/>
          <a:ln w="88900">
            <a:solidFill>
              <a:srgbClr val="4E57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V" sz="1980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0360E21F-2893-2B6E-C754-79C85D18A3AC}"/>
              </a:ext>
            </a:extLst>
          </p:cNvPr>
          <p:cNvSpPr/>
          <p:nvPr/>
        </p:nvSpPr>
        <p:spPr>
          <a:xfrm>
            <a:off x="7956736" y="2525255"/>
            <a:ext cx="1556585" cy="1556585"/>
          </a:xfrm>
          <a:prstGeom prst="ellipse">
            <a:avLst/>
          </a:prstGeom>
          <a:noFill/>
          <a:ln w="889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V" sz="1980"/>
          </a:p>
        </p:txBody>
      </p:sp>
      <p:sp>
        <p:nvSpPr>
          <p:cNvPr id="7" name="Google Shape;1062;p87">
            <a:extLst>
              <a:ext uri="{FF2B5EF4-FFF2-40B4-BE49-F238E27FC236}">
                <a16:creationId xmlns:a16="http://schemas.microsoft.com/office/drawing/2014/main" id="{09E76536-F541-5F3F-600F-E4782C35B19D}"/>
              </a:ext>
            </a:extLst>
          </p:cNvPr>
          <p:cNvSpPr txBox="1"/>
          <p:nvPr/>
        </p:nvSpPr>
        <p:spPr>
          <a:xfrm>
            <a:off x="2427436" y="2891312"/>
            <a:ext cx="1356406" cy="6601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75425" tIns="75425" rIns="75425" bIns="75425" anchor="t">
            <a:spAutoFit/>
          </a:bodyPr>
          <a:lstStyle>
            <a:lvl1pPr algn="ctr">
              <a:spcBef>
                <a:spcPts val="1000"/>
              </a:spcBef>
              <a:defRPr sz="1400" b="1"/>
            </a:lvl1pPr>
          </a:lstStyle>
          <a:p>
            <a:r>
              <a:rPr lang="en-ZA" sz="1650">
                <a:latin typeface="Quire Sans Pro Light"/>
                <a:ea typeface="Open Sans"/>
                <a:cs typeface="Open Sans"/>
              </a:rPr>
              <a:t>the</a:t>
            </a:r>
            <a:br>
              <a:rPr lang="en-ZA" sz="1650">
                <a:latin typeface="Quire Sans Pro Light"/>
                <a:ea typeface="Open Sans"/>
                <a:cs typeface="Open Sans"/>
              </a:rPr>
            </a:br>
            <a:r>
              <a:rPr lang="en-ZA" sz="1650">
                <a:latin typeface="Quire Sans Pro Light"/>
                <a:ea typeface="Open Sans"/>
                <a:cs typeface="Open Sans"/>
              </a:rPr>
              <a:t> skills gap</a:t>
            </a:r>
          </a:p>
        </p:txBody>
      </p:sp>
      <p:sp>
        <p:nvSpPr>
          <p:cNvPr id="9" name="Google Shape;1062;p87">
            <a:extLst>
              <a:ext uri="{FF2B5EF4-FFF2-40B4-BE49-F238E27FC236}">
                <a16:creationId xmlns:a16="http://schemas.microsoft.com/office/drawing/2014/main" id="{C2AC0D47-2C2E-35E3-5356-0A1D9091D0C0}"/>
              </a:ext>
            </a:extLst>
          </p:cNvPr>
          <p:cNvSpPr txBox="1"/>
          <p:nvPr/>
        </p:nvSpPr>
        <p:spPr>
          <a:xfrm>
            <a:off x="6183216" y="3004147"/>
            <a:ext cx="1356406" cy="6093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75425" tIns="75425" rIns="75425" bIns="75425" anchor="t">
            <a:spAutoFit/>
          </a:bodyPr>
          <a:lstStyle>
            <a:lvl1pPr algn="ctr">
              <a:spcBef>
                <a:spcPts val="1000"/>
              </a:spcBef>
              <a:defRPr sz="1400" b="1"/>
            </a:lvl1pPr>
          </a:lstStyle>
          <a:p>
            <a:r>
              <a:rPr lang="en-ZA" sz="1485">
                <a:latin typeface="Quire Sans Pro Light"/>
                <a:ea typeface="Open Sans"/>
                <a:cs typeface="Open Sans"/>
              </a:rPr>
              <a:t>from roles to skills</a:t>
            </a:r>
          </a:p>
        </p:txBody>
      </p:sp>
      <p:sp>
        <p:nvSpPr>
          <p:cNvPr id="10" name="Google Shape;1062;p87">
            <a:extLst>
              <a:ext uri="{FF2B5EF4-FFF2-40B4-BE49-F238E27FC236}">
                <a16:creationId xmlns:a16="http://schemas.microsoft.com/office/drawing/2014/main" id="{A840DD37-6880-78C9-BDF1-F46CA788890D}"/>
              </a:ext>
            </a:extLst>
          </p:cNvPr>
          <p:cNvSpPr txBox="1"/>
          <p:nvPr/>
        </p:nvSpPr>
        <p:spPr>
          <a:xfrm>
            <a:off x="8085286" y="3068622"/>
            <a:ext cx="1356406" cy="3808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75424" tIns="75424" rIns="75424" bIns="75424" anchor="t">
            <a:spAutoFit/>
          </a:bodyPr>
          <a:lstStyle>
            <a:lvl1pPr algn="ctr">
              <a:spcBef>
                <a:spcPts val="1000"/>
              </a:spcBef>
              <a:defRPr sz="1400" b="1"/>
            </a:lvl1pPr>
          </a:lstStyle>
          <a:p>
            <a:r>
              <a:rPr lang="en-ZA" sz="1485">
                <a:latin typeface="Quire Sans Pro Light"/>
                <a:ea typeface="Open Sans"/>
                <a:cs typeface="Open Sans"/>
              </a:rPr>
              <a:t>agile careers</a:t>
            </a:r>
          </a:p>
        </p:txBody>
      </p:sp>
      <p:sp>
        <p:nvSpPr>
          <p:cNvPr id="11" name="Google Shape;1062;p87">
            <a:extLst>
              <a:ext uri="{FF2B5EF4-FFF2-40B4-BE49-F238E27FC236}">
                <a16:creationId xmlns:a16="http://schemas.microsoft.com/office/drawing/2014/main" id="{F0E7D9D6-F863-ABE9-8BAA-B6562469E18C}"/>
              </a:ext>
            </a:extLst>
          </p:cNvPr>
          <p:cNvSpPr txBox="1"/>
          <p:nvPr/>
        </p:nvSpPr>
        <p:spPr>
          <a:xfrm>
            <a:off x="4317839" y="3005509"/>
            <a:ext cx="1356406" cy="6601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75425" tIns="75425" rIns="75425" bIns="75425" anchor="t">
            <a:spAutoFit/>
          </a:bodyPr>
          <a:lstStyle>
            <a:lvl1pPr algn="ctr">
              <a:spcBef>
                <a:spcPts val="1000"/>
              </a:spcBef>
              <a:defRPr sz="1400" b="1"/>
            </a:lvl1pPr>
          </a:lstStyle>
          <a:p>
            <a:r>
              <a:rPr lang="en-ZA" sz="1650">
                <a:latin typeface="Quire Sans Pro Light"/>
                <a:ea typeface="Open Sans"/>
                <a:cs typeface="Open Sans"/>
              </a:rPr>
              <a:t>demographic shif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7018076-3B7D-9A30-0E3F-618EA02392ED}"/>
              </a:ext>
            </a:extLst>
          </p:cNvPr>
          <p:cNvSpPr txBox="1"/>
          <p:nvPr/>
        </p:nvSpPr>
        <p:spPr>
          <a:xfrm>
            <a:off x="-327340" y="7334935"/>
            <a:ext cx="6510556" cy="2157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75438" tIns="37719" rIns="75438" bIns="37719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en-US" sz="907" dirty="0">
                <a:solidFill>
                  <a:schemeClr val="tx1">
                    <a:lumMod val="75000"/>
                    <a:lumOff val="25000"/>
                  </a:schemeClr>
                </a:solidFill>
                <a:latin typeface="Quire Sans Pro Light"/>
                <a:cs typeface="Calibri"/>
              </a:rPr>
              <a:t>Sources:  OECD, McKinsey Global Institute, Deloitte, PwC Global Workforce Survey, </a:t>
            </a:r>
            <a:r>
              <a:rPr lang="en-GB" sz="907" dirty="0">
                <a:solidFill>
                  <a:schemeClr val="tx1">
                    <a:lumMod val="75000"/>
                    <a:lumOff val="25000"/>
                  </a:schemeClr>
                </a:solidFill>
                <a:latin typeface="Quire Sans Pro Light"/>
                <a:cs typeface="Calibri"/>
              </a:rPr>
              <a:t>Alphabet/Google </a:t>
            </a:r>
            <a:r>
              <a:rPr lang="en-GB" sz="907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Quire Sans Pro Light"/>
                <a:cs typeface="Calibri"/>
              </a:rPr>
              <a:t>FutureSkills</a:t>
            </a:r>
            <a:endParaRPr lang="en-GB" sz="907" dirty="0">
              <a:solidFill>
                <a:schemeClr val="tx1">
                  <a:lumMod val="75000"/>
                  <a:lumOff val="25000"/>
                </a:schemeClr>
              </a:solidFill>
              <a:latin typeface="Quire Sans Pro Light"/>
              <a:cs typeface="Calibri"/>
            </a:endParaRPr>
          </a:p>
        </p:txBody>
      </p:sp>
      <p:sp>
        <p:nvSpPr>
          <p:cNvPr id="3" name="Google Shape;348;p48">
            <a:extLst>
              <a:ext uri="{FF2B5EF4-FFF2-40B4-BE49-F238E27FC236}">
                <a16:creationId xmlns:a16="http://schemas.microsoft.com/office/drawing/2014/main" id="{E0E0530B-701B-19BE-FB2E-D4479FB2B163}"/>
              </a:ext>
            </a:extLst>
          </p:cNvPr>
          <p:cNvSpPr txBox="1">
            <a:spLocks/>
          </p:cNvSpPr>
          <p:nvPr/>
        </p:nvSpPr>
        <p:spPr>
          <a:xfrm>
            <a:off x="7162800" y="7315200"/>
            <a:ext cx="2790915" cy="301228"/>
          </a:xfrm>
          <a:prstGeom prst="rect">
            <a:avLst/>
          </a:prstGeom>
        </p:spPr>
        <p:txBody>
          <a:bodyPr spcFirstLastPara="1" vert="horz" wrap="square" lIns="100568" tIns="100568" rIns="100568" bIns="100568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07" dirty="0">
                <a:solidFill>
                  <a:schemeClr val="bg2">
                    <a:lumMod val="75000"/>
                  </a:schemeClr>
                </a:solidFill>
              </a:rPr>
              <a:t>© 2012-2023 </a:t>
            </a:r>
            <a:r>
              <a:rPr lang="en-US" sz="907" dirty="0" err="1">
                <a:solidFill>
                  <a:schemeClr val="bg2">
                    <a:lumMod val="75000"/>
                  </a:schemeClr>
                </a:solidFill>
              </a:rPr>
              <a:t>Credly</a:t>
            </a:r>
            <a:r>
              <a:rPr lang="en-US" sz="907" dirty="0">
                <a:solidFill>
                  <a:schemeClr val="bg2">
                    <a:lumMod val="75000"/>
                  </a:schemeClr>
                </a:solidFill>
              </a:rPr>
              <a:t>, Inc | Proprietary | </a:t>
            </a:r>
            <a:fld id="{00000000-1234-1234-1234-123412341234}" type="slidenum">
              <a:rPr lang="en-US" sz="907" dirty="0">
                <a:solidFill>
                  <a:schemeClr val="bg2">
                    <a:lumMod val="75000"/>
                  </a:schemeClr>
                </a:solidFill>
              </a:rPr>
              <a:pPr algn="r"/>
              <a:t>5</a:t>
            </a:fld>
            <a:endParaRPr lang="en-US" sz="907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1D94E5E-104B-A0B3-E408-2BA0570A1DE2}"/>
              </a:ext>
            </a:extLst>
          </p:cNvPr>
          <p:cNvSpPr/>
          <p:nvPr/>
        </p:nvSpPr>
        <p:spPr>
          <a:xfrm>
            <a:off x="4088414" y="2468077"/>
            <a:ext cx="1846257" cy="173194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0196603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D989A-AA3A-B546-837F-0DB440D819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257881"/>
            <a:ext cx="8972060" cy="939312"/>
          </a:xfrm>
        </p:spPr>
        <p:txBody>
          <a:bodyPr spcFirstLastPara="1" wrap="square" lIns="75438" tIns="37719" rIns="75438" bIns="37719" anchor="ctr" anchorCtr="0">
            <a:normAutofit fontScale="90000"/>
          </a:bodyPr>
          <a:lstStyle/>
          <a:p>
            <a:r>
              <a:rPr lang="en-US" b="1" dirty="0">
                <a:ea typeface="Open Sans Light"/>
                <a:cs typeface="Open Sans Light"/>
              </a:rPr>
              <a:t> 5 global workforce shifts</a:t>
            </a:r>
            <a:r>
              <a:rPr lang="en-US" dirty="0">
                <a:ea typeface="Open Sans Light"/>
                <a:cs typeface="Open Sans Light"/>
              </a:rPr>
              <a:t> driving demand for badges</a:t>
            </a:r>
          </a:p>
        </p:txBody>
      </p:sp>
      <p:sp>
        <p:nvSpPr>
          <p:cNvPr id="16" name="Google Shape;1062;p87">
            <a:extLst>
              <a:ext uri="{FF2B5EF4-FFF2-40B4-BE49-F238E27FC236}">
                <a16:creationId xmlns:a16="http://schemas.microsoft.com/office/drawing/2014/main" id="{FA0B787F-4288-544E-B375-238C7E052AD9}"/>
              </a:ext>
            </a:extLst>
          </p:cNvPr>
          <p:cNvSpPr txBox="1"/>
          <p:nvPr/>
        </p:nvSpPr>
        <p:spPr>
          <a:xfrm>
            <a:off x="614023" y="2834894"/>
            <a:ext cx="1356406" cy="9140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75425" tIns="75425" rIns="75425" bIns="75425" anchor="t">
            <a:spAutoFit/>
          </a:bodyPr>
          <a:lstStyle>
            <a:lvl1pPr algn="ctr">
              <a:spcBef>
                <a:spcPts val="1000"/>
              </a:spcBef>
              <a:defRPr sz="1400" b="1"/>
            </a:lvl1pPr>
          </a:lstStyle>
          <a:p>
            <a:r>
              <a:rPr lang="en-ZA" sz="1650" dirty="0">
                <a:solidFill>
                  <a:schemeClr val="bg1">
                    <a:lumMod val="50000"/>
                  </a:schemeClr>
                </a:solidFill>
                <a:latin typeface="Quire Sans Pro Light"/>
                <a:ea typeface="Open Sans"/>
                <a:cs typeface="Open Sans"/>
              </a:rPr>
              <a:t>the automation of work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F8A7741-6E1F-394E-863F-BDC027FF12C7}"/>
              </a:ext>
            </a:extLst>
          </p:cNvPr>
          <p:cNvSpPr txBox="1"/>
          <p:nvPr/>
        </p:nvSpPr>
        <p:spPr>
          <a:xfrm>
            <a:off x="3581400" y="4417800"/>
            <a:ext cx="6019800" cy="2292166"/>
          </a:xfrm>
          <a:prstGeom prst="rect">
            <a:avLst/>
          </a:prstGeom>
          <a:noFill/>
        </p:spPr>
        <p:txBody>
          <a:bodyPr wrap="square" lIns="75438" tIns="37719" rIns="75438" bIns="37719" rtlCol="0" anchor="t">
            <a:spAutoFit/>
          </a:bodyPr>
          <a:lstStyle/>
          <a:p>
            <a:pPr algn="ctr"/>
            <a:r>
              <a:rPr lang="en-GB" sz="2400" b="1" dirty="0">
                <a:latin typeface="Quire Sans Pro Light"/>
                <a:ea typeface="Open Sans Light"/>
                <a:cs typeface="Calibri"/>
              </a:rPr>
              <a:t>Jobs can't keep up</a:t>
            </a:r>
            <a:endParaRPr lang="en-GB" sz="2400" dirty="0">
              <a:latin typeface="Quire Sans Pro Light"/>
              <a:ea typeface="Open Sans Light"/>
              <a:cs typeface="Calibri"/>
            </a:endParaRPr>
          </a:p>
          <a:p>
            <a:pPr algn="ctr"/>
            <a:endParaRPr lang="en-GB" sz="2400" dirty="0">
              <a:latin typeface="Quire Sans Pro Light"/>
              <a:ea typeface="Open Sans Light"/>
              <a:cs typeface="Open Sans Light"/>
            </a:endParaRPr>
          </a:p>
          <a:p>
            <a:pPr algn="ctr"/>
            <a:r>
              <a:rPr lang="en-GB" sz="2400" dirty="0">
                <a:latin typeface="Quire Sans Pro Light"/>
                <a:ea typeface="Open Sans Light"/>
                <a:cs typeface="Open Sans Light"/>
              </a:rPr>
              <a:t>Skill-sets for jobs changed 25% in 5 years.  </a:t>
            </a:r>
            <a:endParaRPr lang="en-US" sz="2400" dirty="0">
              <a:latin typeface="Quire Sans Pro Light"/>
              <a:ea typeface="Open Sans Light"/>
              <a:cs typeface="Open Sans Light"/>
            </a:endParaRPr>
          </a:p>
          <a:p>
            <a:pPr algn="ctr"/>
            <a:endParaRPr lang="en-GB" sz="2400" dirty="0">
              <a:latin typeface="Quire Sans Pro Light"/>
              <a:ea typeface="Open Sans Light"/>
              <a:cs typeface="Open Sans Light"/>
            </a:endParaRPr>
          </a:p>
          <a:p>
            <a:pPr algn="ctr"/>
            <a:r>
              <a:rPr lang="en-GB" sz="2400" dirty="0">
                <a:latin typeface="Quire Sans Pro Light"/>
                <a:ea typeface="Open Sans Light"/>
                <a:cs typeface="Open Sans Light"/>
              </a:rPr>
              <a:t>Estimated to change 50% in the next 5 years.</a:t>
            </a:r>
            <a:endParaRPr lang="en-US" sz="2400" dirty="0">
              <a:latin typeface="Quire Sans Pro Light"/>
              <a:ea typeface="Open Sans Light"/>
              <a:cs typeface="Open Sans Light"/>
            </a:endParaRPr>
          </a:p>
          <a:p>
            <a:pPr algn="ctr"/>
            <a:endParaRPr lang="en-GB" sz="2400" b="1" dirty="0">
              <a:latin typeface="Quire Sans Pro Light"/>
              <a:ea typeface="Open Sans Light"/>
              <a:cs typeface="Open Sans Light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7C0CC920-2FFB-D612-6738-C3E6C7B00403}"/>
              </a:ext>
            </a:extLst>
          </p:cNvPr>
          <p:cNvSpPr/>
          <p:nvPr/>
        </p:nvSpPr>
        <p:spPr>
          <a:xfrm>
            <a:off x="517964" y="2525255"/>
            <a:ext cx="1556585" cy="1556585"/>
          </a:xfrm>
          <a:prstGeom prst="ellipse">
            <a:avLst/>
          </a:prstGeom>
          <a:noFill/>
          <a:ln w="889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V" sz="1980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D6F781DE-24F5-7801-F0A1-F7FAECA4130C}"/>
              </a:ext>
            </a:extLst>
          </p:cNvPr>
          <p:cNvSpPr/>
          <p:nvPr/>
        </p:nvSpPr>
        <p:spPr>
          <a:xfrm>
            <a:off x="2371611" y="2525255"/>
            <a:ext cx="1556585" cy="1556585"/>
          </a:xfrm>
          <a:prstGeom prst="ellipse">
            <a:avLst/>
          </a:prstGeom>
          <a:noFill/>
          <a:ln w="889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V" sz="1980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5E41E497-F9F2-E061-9B41-F46F4D1315F6}"/>
              </a:ext>
            </a:extLst>
          </p:cNvPr>
          <p:cNvSpPr/>
          <p:nvPr/>
        </p:nvSpPr>
        <p:spPr>
          <a:xfrm>
            <a:off x="4217750" y="2525255"/>
            <a:ext cx="1556585" cy="1556585"/>
          </a:xfrm>
          <a:prstGeom prst="ellipse">
            <a:avLst/>
          </a:prstGeom>
          <a:noFill/>
          <a:ln w="889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V" sz="1980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2AF901B5-887C-7698-40D3-D4A87D2F207A}"/>
              </a:ext>
            </a:extLst>
          </p:cNvPr>
          <p:cNvSpPr/>
          <p:nvPr/>
        </p:nvSpPr>
        <p:spPr>
          <a:xfrm>
            <a:off x="6078907" y="2525255"/>
            <a:ext cx="1556585" cy="1556585"/>
          </a:xfrm>
          <a:prstGeom prst="ellipse">
            <a:avLst/>
          </a:prstGeom>
          <a:noFill/>
          <a:ln w="88900">
            <a:solidFill>
              <a:srgbClr val="4E57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V" sz="1980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0360E21F-2893-2B6E-C754-79C85D18A3AC}"/>
              </a:ext>
            </a:extLst>
          </p:cNvPr>
          <p:cNvSpPr/>
          <p:nvPr/>
        </p:nvSpPr>
        <p:spPr>
          <a:xfrm>
            <a:off x="7956736" y="2525255"/>
            <a:ext cx="1556585" cy="1556585"/>
          </a:xfrm>
          <a:prstGeom prst="ellipse">
            <a:avLst/>
          </a:prstGeom>
          <a:noFill/>
          <a:ln w="889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V" sz="1980"/>
          </a:p>
        </p:txBody>
      </p:sp>
      <p:sp>
        <p:nvSpPr>
          <p:cNvPr id="7" name="Google Shape;1062;p87">
            <a:extLst>
              <a:ext uri="{FF2B5EF4-FFF2-40B4-BE49-F238E27FC236}">
                <a16:creationId xmlns:a16="http://schemas.microsoft.com/office/drawing/2014/main" id="{09E76536-F541-5F3F-600F-E4782C35B19D}"/>
              </a:ext>
            </a:extLst>
          </p:cNvPr>
          <p:cNvSpPr txBox="1"/>
          <p:nvPr/>
        </p:nvSpPr>
        <p:spPr>
          <a:xfrm>
            <a:off x="2427436" y="2891312"/>
            <a:ext cx="1356406" cy="6601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75425" tIns="75425" rIns="75425" bIns="75425" anchor="t">
            <a:spAutoFit/>
          </a:bodyPr>
          <a:lstStyle>
            <a:lvl1pPr algn="ctr">
              <a:spcBef>
                <a:spcPts val="1000"/>
              </a:spcBef>
              <a:defRPr sz="1400" b="1"/>
            </a:lvl1pPr>
          </a:lstStyle>
          <a:p>
            <a:r>
              <a:rPr lang="en-ZA" sz="1650" dirty="0">
                <a:solidFill>
                  <a:schemeClr val="bg1">
                    <a:lumMod val="50000"/>
                  </a:schemeClr>
                </a:solidFill>
                <a:latin typeface="Quire Sans Pro Light"/>
                <a:ea typeface="Open Sans"/>
                <a:cs typeface="Open Sans"/>
              </a:rPr>
              <a:t>the</a:t>
            </a:r>
            <a:br>
              <a:rPr lang="en-ZA" sz="1650" dirty="0">
                <a:solidFill>
                  <a:schemeClr val="bg1">
                    <a:lumMod val="50000"/>
                  </a:schemeClr>
                </a:solidFill>
                <a:latin typeface="Quire Sans Pro Light"/>
                <a:ea typeface="Open Sans"/>
                <a:cs typeface="Open Sans"/>
              </a:rPr>
            </a:br>
            <a:r>
              <a:rPr lang="en-ZA" sz="1650" dirty="0">
                <a:solidFill>
                  <a:schemeClr val="bg1">
                    <a:lumMod val="50000"/>
                  </a:schemeClr>
                </a:solidFill>
                <a:latin typeface="Quire Sans Pro Light"/>
                <a:ea typeface="Open Sans"/>
                <a:cs typeface="Open Sans"/>
              </a:rPr>
              <a:t> skills gap</a:t>
            </a:r>
          </a:p>
        </p:txBody>
      </p:sp>
      <p:sp>
        <p:nvSpPr>
          <p:cNvPr id="9" name="Google Shape;1062;p87">
            <a:extLst>
              <a:ext uri="{FF2B5EF4-FFF2-40B4-BE49-F238E27FC236}">
                <a16:creationId xmlns:a16="http://schemas.microsoft.com/office/drawing/2014/main" id="{C2AC0D47-2C2E-35E3-5356-0A1D9091D0C0}"/>
              </a:ext>
            </a:extLst>
          </p:cNvPr>
          <p:cNvSpPr txBox="1"/>
          <p:nvPr/>
        </p:nvSpPr>
        <p:spPr>
          <a:xfrm>
            <a:off x="6183216" y="3004147"/>
            <a:ext cx="1356406" cy="6093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75425" tIns="75425" rIns="75425" bIns="75425" anchor="t">
            <a:spAutoFit/>
          </a:bodyPr>
          <a:lstStyle>
            <a:lvl1pPr algn="ctr">
              <a:spcBef>
                <a:spcPts val="1000"/>
              </a:spcBef>
              <a:defRPr sz="1400" b="1"/>
            </a:lvl1pPr>
          </a:lstStyle>
          <a:p>
            <a:r>
              <a:rPr lang="en-ZA" sz="1485">
                <a:latin typeface="Quire Sans Pro Light"/>
                <a:ea typeface="Open Sans"/>
                <a:cs typeface="Open Sans"/>
              </a:rPr>
              <a:t>from roles to skills</a:t>
            </a:r>
          </a:p>
        </p:txBody>
      </p:sp>
      <p:sp>
        <p:nvSpPr>
          <p:cNvPr id="10" name="Google Shape;1062;p87">
            <a:extLst>
              <a:ext uri="{FF2B5EF4-FFF2-40B4-BE49-F238E27FC236}">
                <a16:creationId xmlns:a16="http://schemas.microsoft.com/office/drawing/2014/main" id="{A840DD37-6880-78C9-BDF1-F46CA788890D}"/>
              </a:ext>
            </a:extLst>
          </p:cNvPr>
          <p:cNvSpPr txBox="1"/>
          <p:nvPr/>
        </p:nvSpPr>
        <p:spPr>
          <a:xfrm>
            <a:off x="8085286" y="3068622"/>
            <a:ext cx="1356406" cy="3808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75424" tIns="75424" rIns="75424" bIns="75424" anchor="t">
            <a:spAutoFit/>
          </a:bodyPr>
          <a:lstStyle>
            <a:lvl1pPr algn="ctr">
              <a:spcBef>
                <a:spcPts val="1000"/>
              </a:spcBef>
              <a:defRPr sz="1400" b="1"/>
            </a:lvl1pPr>
          </a:lstStyle>
          <a:p>
            <a:r>
              <a:rPr lang="en-ZA" sz="1485" dirty="0">
                <a:solidFill>
                  <a:schemeClr val="bg1">
                    <a:lumMod val="50000"/>
                  </a:schemeClr>
                </a:solidFill>
                <a:latin typeface="Quire Sans Pro Light"/>
                <a:ea typeface="Open Sans"/>
                <a:cs typeface="Open Sans"/>
              </a:rPr>
              <a:t>agile careers</a:t>
            </a:r>
          </a:p>
        </p:txBody>
      </p:sp>
      <p:sp>
        <p:nvSpPr>
          <p:cNvPr id="11" name="Google Shape;1062;p87">
            <a:extLst>
              <a:ext uri="{FF2B5EF4-FFF2-40B4-BE49-F238E27FC236}">
                <a16:creationId xmlns:a16="http://schemas.microsoft.com/office/drawing/2014/main" id="{F0E7D9D6-F863-ABE9-8BAA-B6562469E18C}"/>
              </a:ext>
            </a:extLst>
          </p:cNvPr>
          <p:cNvSpPr txBox="1"/>
          <p:nvPr/>
        </p:nvSpPr>
        <p:spPr>
          <a:xfrm>
            <a:off x="4317839" y="3005509"/>
            <a:ext cx="1356406" cy="6601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75425" tIns="75425" rIns="75425" bIns="75425" anchor="t">
            <a:spAutoFit/>
          </a:bodyPr>
          <a:lstStyle>
            <a:lvl1pPr algn="ctr">
              <a:spcBef>
                <a:spcPts val="1000"/>
              </a:spcBef>
              <a:defRPr sz="1400" b="1"/>
            </a:lvl1pPr>
          </a:lstStyle>
          <a:p>
            <a:r>
              <a:rPr lang="en-ZA" sz="1650" dirty="0">
                <a:solidFill>
                  <a:schemeClr val="bg1">
                    <a:lumMod val="50000"/>
                  </a:schemeClr>
                </a:solidFill>
                <a:latin typeface="Quire Sans Pro Light"/>
                <a:ea typeface="Open Sans"/>
                <a:cs typeface="Open Sans"/>
              </a:rPr>
              <a:t>demographic shif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7018076-3B7D-9A30-0E3F-618EA02392ED}"/>
              </a:ext>
            </a:extLst>
          </p:cNvPr>
          <p:cNvSpPr txBox="1"/>
          <p:nvPr/>
        </p:nvSpPr>
        <p:spPr>
          <a:xfrm>
            <a:off x="-327340" y="7334935"/>
            <a:ext cx="6510556" cy="2157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75438" tIns="37719" rIns="75438" bIns="37719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en-US" sz="907" dirty="0">
                <a:solidFill>
                  <a:schemeClr val="tx1">
                    <a:lumMod val="75000"/>
                    <a:lumOff val="25000"/>
                  </a:schemeClr>
                </a:solidFill>
                <a:latin typeface="Quire Sans Pro Light"/>
                <a:cs typeface="Calibri"/>
              </a:rPr>
              <a:t>Sources:  OECD, McKinsey Global Institute, Deloitte, PwC Global Workforce Survey, </a:t>
            </a:r>
            <a:r>
              <a:rPr lang="en-GB" sz="907" dirty="0">
                <a:solidFill>
                  <a:schemeClr val="tx1">
                    <a:lumMod val="75000"/>
                    <a:lumOff val="25000"/>
                  </a:schemeClr>
                </a:solidFill>
                <a:latin typeface="Quire Sans Pro Light"/>
                <a:cs typeface="Calibri"/>
              </a:rPr>
              <a:t>Alphabet/Google </a:t>
            </a:r>
            <a:r>
              <a:rPr lang="en-GB" sz="907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Quire Sans Pro Light"/>
                <a:cs typeface="Calibri"/>
              </a:rPr>
              <a:t>FutureSkills</a:t>
            </a:r>
            <a:endParaRPr lang="en-GB" sz="907" dirty="0">
              <a:solidFill>
                <a:schemeClr val="tx1">
                  <a:lumMod val="75000"/>
                  <a:lumOff val="25000"/>
                </a:schemeClr>
              </a:solidFill>
              <a:latin typeface="Quire Sans Pro Light"/>
              <a:cs typeface="Calibri"/>
            </a:endParaRPr>
          </a:p>
        </p:txBody>
      </p:sp>
      <p:sp>
        <p:nvSpPr>
          <p:cNvPr id="3" name="Google Shape;348;p48">
            <a:extLst>
              <a:ext uri="{FF2B5EF4-FFF2-40B4-BE49-F238E27FC236}">
                <a16:creationId xmlns:a16="http://schemas.microsoft.com/office/drawing/2014/main" id="{E0E0530B-701B-19BE-FB2E-D4479FB2B163}"/>
              </a:ext>
            </a:extLst>
          </p:cNvPr>
          <p:cNvSpPr txBox="1">
            <a:spLocks/>
          </p:cNvSpPr>
          <p:nvPr/>
        </p:nvSpPr>
        <p:spPr>
          <a:xfrm>
            <a:off x="7162800" y="7315200"/>
            <a:ext cx="2790915" cy="301228"/>
          </a:xfrm>
          <a:prstGeom prst="rect">
            <a:avLst/>
          </a:prstGeom>
        </p:spPr>
        <p:txBody>
          <a:bodyPr spcFirstLastPara="1" vert="horz" wrap="square" lIns="100568" tIns="100568" rIns="100568" bIns="100568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07" dirty="0">
                <a:solidFill>
                  <a:schemeClr val="bg2">
                    <a:lumMod val="75000"/>
                  </a:schemeClr>
                </a:solidFill>
              </a:rPr>
              <a:t>© 2012-2023 </a:t>
            </a:r>
            <a:r>
              <a:rPr lang="en-US" sz="907" dirty="0" err="1">
                <a:solidFill>
                  <a:schemeClr val="bg2">
                    <a:lumMod val="75000"/>
                  </a:schemeClr>
                </a:solidFill>
              </a:rPr>
              <a:t>Credly</a:t>
            </a:r>
            <a:r>
              <a:rPr lang="en-US" sz="907" dirty="0">
                <a:solidFill>
                  <a:schemeClr val="bg2">
                    <a:lumMod val="75000"/>
                  </a:schemeClr>
                </a:solidFill>
              </a:rPr>
              <a:t>, Inc | Proprietary | </a:t>
            </a:r>
            <a:fld id="{00000000-1234-1234-1234-123412341234}" type="slidenum">
              <a:rPr lang="en-US" sz="907" dirty="0">
                <a:solidFill>
                  <a:schemeClr val="bg2">
                    <a:lumMod val="75000"/>
                  </a:schemeClr>
                </a:solidFill>
              </a:rPr>
              <a:pPr algn="r"/>
              <a:t>6</a:t>
            </a:fld>
            <a:endParaRPr lang="en-US" sz="907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7499D24-96A4-2725-0DFD-087980A746AE}"/>
              </a:ext>
            </a:extLst>
          </p:cNvPr>
          <p:cNvSpPr/>
          <p:nvPr/>
        </p:nvSpPr>
        <p:spPr>
          <a:xfrm>
            <a:off x="5952922" y="2437575"/>
            <a:ext cx="1846257" cy="173194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172154"/>
      </p:ext>
    </p:extLst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D989A-AA3A-B546-837F-0DB440D819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255140"/>
            <a:ext cx="8919774" cy="939312"/>
          </a:xfrm>
        </p:spPr>
        <p:txBody>
          <a:bodyPr spcFirstLastPara="1" wrap="square" lIns="75438" tIns="37719" rIns="75438" bIns="37719" anchor="ctr" anchorCtr="0">
            <a:normAutofit fontScale="90000"/>
          </a:bodyPr>
          <a:lstStyle/>
          <a:p>
            <a:r>
              <a:rPr lang="en-US" b="1" dirty="0">
                <a:ea typeface="Open Sans Light"/>
                <a:cs typeface="Open Sans Light"/>
              </a:rPr>
              <a:t> 5 global workforce shifts</a:t>
            </a:r>
            <a:r>
              <a:rPr lang="en-US" dirty="0">
                <a:ea typeface="Open Sans Light"/>
                <a:cs typeface="Open Sans Light"/>
              </a:rPr>
              <a:t> driving demand for badges</a:t>
            </a:r>
          </a:p>
        </p:txBody>
      </p:sp>
      <p:sp>
        <p:nvSpPr>
          <p:cNvPr id="16" name="Google Shape;1062;p87">
            <a:extLst>
              <a:ext uri="{FF2B5EF4-FFF2-40B4-BE49-F238E27FC236}">
                <a16:creationId xmlns:a16="http://schemas.microsoft.com/office/drawing/2014/main" id="{FA0B787F-4288-544E-B375-238C7E052AD9}"/>
              </a:ext>
            </a:extLst>
          </p:cNvPr>
          <p:cNvSpPr txBox="1"/>
          <p:nvPr/>
        </p:nvSpPr>
        <p:spPr>
          <a:xfrm>
            <a:off x="614023" y="2834894"/>
            <a:ext cx="1356406" cy="9140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75425" tIns="75425" rIns="75425" bIns="75425" anchor="t">
            <a:spAutoFit/>
          </a:bodyPr>
          <a:lstStyle>
            <a:lvl1pPr algn="ctr">
              <a:spcBef>
                <a:spcPts val="1000"/>
              </a:spcBef>
              <a:defRPr sz="1400" b="1"/>
            </a:lvl1pPr>
          </a:lstStyle>
          <a:p>
            <a:r>
              <a:rPr lang="en-ZA" sz="1650" dirty="0">
                <a:solidFill>
                  <a:schemeClr val="bg1">
                    <a:lumMod val="50000"/>
                  </a:schemeClr>
                </a:solidFill>
                <a:latin typeface="Quire Sans Pro Light"/>
                <a:ea typeface="Open Sans"/>
                <a:cs typeface="Open Sans"/>
              </a:rPr>
              <a:t>the automation of work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9469396-95DD-404D-801A-41965FB1ED45}"/>
              </a:ext>
            </a:extLst>
          </p:cNvPr>
          <p:cNvSpPr txBox="1"/>
          <p:nvPr/>
        </p:nvSpPr>
        <p:spPr>
          <a:xfrm>
            <a:off x="1219200" y="4417800"/>
            <a:ext cx="8412771" cy="2661498"/>
          </a:xfrm>
          <a:prstGeom prst="rect">
            <a:avLst/>
          </a:prstGeom>
          <a:noFill/>
        </p:spPr>
        <p:txBody>
          <a:bodyPr wrap="square" lIns="75438" tIns="37719" rIns="75438" bIns="37719" rtlCol="0" anchor="t">
            <a:spAutoFit/>
          </a:bodyPr>
          <a:lstStyle/>
          <a:p>
            <a:pPr algn="ctr"/>
            <a:r>
              <a:rPr lang="en-GB" sz="2400" b="1" dirty="0">
                <a:latin typeface="Quire Sans Pro Light"/>
                <a:ea typeface="Open Sans Light"/>
                <a:cs typeface="Open Sans Light"/>
              </a:rPr>
              <a:t>Fluid careers are the new normal </a:t>
            </a:r>
            <a:r>
              <a:rPr lang="en-GB" sz="2400" dirty="0">
                <a:latin typeface="Quire Sans Pro Light"/>
                <a:ea typeface="Open Sans Light"/>
                <a:cs typeface="Open Sans Light"/>
              </a:rPr>
              <a:t> + the gig-economy &amp; the "</a:t>
            </a:r>
            <a:r>
              <a:rPr lang="en-GB" sz="2400" i="1" dirty="0" err="1">
                <a:latin typeface="Quire Sans Pro Light"/>
                <a:ea typeface="Open Sans Light"/>
                <a:cs typeface="Open Sans Light"/>
              </a:rPr>
              <a:t>projectification</a:t>
            </a:r>
            <a:r>
              <a:rPr lang="en-GB" sz="2400" dirty="0">
                <a:latin typeface="Quire Sans Pro Light"/>
                <a:ea typeface="Open Sans Light"/>
                <a:cs typeface="Open Sans Light"/>
              </a:rPr>
              <a:t>" of work.</a:t>
            </a:r>
            <a:endParaRPr lang="en-US" sz="2400" dirty="0">
              <a:latin typeface="Quire Sans Pro Light"/>
              <a:ea typeface="Open Sans Light"/>
              <a:cs typeface="Open Sans Light"/>
            </a:endParaRPr>
          </a:p>
          <a:p>
            <a:pPr algn="ctr"/>
            <a:endParaRPr lang="en-GB" sz="2400" dirty="0">
              <a:latin typeface="Quire Sans Pro Light"/>
              <a:ea typeface="Open Sans Light"/>
              <a:cs typeface="Open Sans Light"/>
            </a:endParaRPr>
          </a:p>
          <a:p>
            <a:pPr algn="ctr"/>
            <a:r>
              <a:rPr lang="en-US" sz="2400" dirty="0">
                <a:latin typeface="Quire Sans Pro Light"/>
                <a:ea typeface="Open Sans Light"/>
                <a:cs typeface="Calibri"/>
              </a:rPr>
              <a:t>A generational increase in career switching : median tenure for 25-34 year-olds is 3.2 years. </a:t>
            </a:r>
            <a:endParaRPr lang="en-GB" sz="2400" dirty="0">
              <a:latin typeface="Quire Sans Pro Light"/>
              <a:ea typeface="Open Sans Light"/>
              <a:cs typeface="Calibri"/>
            </a:endParaRPr>
          </a:p>
          <a:p>
            <a:pPr algn="ctr"/>
            <a:endParaRPr lang="en-US" sz="2400" dirty="0">
              <a:latin typeface="Quire Sans Pro Light"/>
              <a:ea typeface="Open Sans Light"/>
              <a:cs typeface="Calibri"/>
            </a:endParaRPr>
          </a:p>
          <a:p>
            <a:pPr algn="ctr"/>
            <a:r>
              <a:rPr lang="en-US" sz="2400" dirty="0">
                <a:latin typeface="Quire Sans Pro Light"/>
                <a:ea typeface="Open Sans Light"/>
                <a:cs typeface="Calibri"/>
              </a:rPr>
              <a:t>1 in 5 workers expect to change jobs this year.</a:t>
            </a:r>
            <a:endParaRPr lang="en-GB" sz="2400" dirty="0">
              <a:latin typeface="Quire Sans Pro Light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7C0CC920-2FFB-D612-6738-C3E6C7B00403}"/>
              </a:ext>
            </a:extLst>
          </p:cNvPr>
          <p:cNvSpPr/>
          <p:nvPr/>
        </p:nvSpPr>
        <p:spPr>
          <a:xfrm>
            <a:off x="517964" y="2525255"/>
            <a:ext cx="1556585" cy="1556585"/>
          </a:xfrm>
          <a:prstGeom prst="ellipse">
            <a:avLst/>
          </a:prstGeom>
          <a:noFill/>
          <a:ln w="889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V" sz="1980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D6F781DE-24F5-7801-F0A1-F7FAECA4130C}"/>
              </a:ext>
            </a:extLst>
          </p:cNvPr>
          <p:cNvSpPr/>
          <p:nvPr/>
        </p:nvSpPr>
        <p:spPr>
          <a:xfrm>
            <a:off x="2371611" y="2525255"/>
            <a:ext cx="1556585" cy="1556585"/>
          </a:xfrm>
          <a:prstGeom prst="ellipse">
            <a:avLst/>
          </a:prstGeom>
          <a:noFill/>
          <a:ln w="889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V" sz="1980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5E41E497-F9F2-E061-9B41-F46F4D1315F6}"/>
              </a:ext>
            </a:extLst>
          </p:cNvPr>
          <p:cNvSpPr/>
          <p:nvPr/>
        </p:nvSpPr>
        <p:spPr>
          <a:xfrm>
            <a:off x="4217750" y="2525255"/>
            <a:ext cx="1556585" cy="1556585"/>
          </a:xfrm>
          <a:prstGeom prst="ellipse">
            <a:avLst/>
          </a:prstGeom>
          <a:noFill/>
          <a:ln w="889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V" sz="1980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2AF901B5-887C-7698-40D3-D4A87D2F207A}"/>
              </a:ext>
            </a:extLst>
          </p:cNvPr>
          <p:cNvSpPr/>
          <p:nvPr/>
        </p:nvSpPr>
        <p:spPr>
          <a:xfrm>
            <a:off x="6078907" y="2525255"/>
            <a:ext cx="1556585" cy="1556585"/>
          </a:xfrm>
          <a:prstGeom prst="ellipse">
            <a:avLst/>
          </a:prstGeom>
          <a:noFill/>
          <a:ln w="88900">
            <a:solidFill>
              <a:srgbClr val="4E57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V" sz="1980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0360E21F-2893-2B6E-C754-79C85D18A3AC}"/>
              </a:ext>
            </a:extLst>
          </p:cNvPr>
          <p:cNvSpPr/>
          <p:nvPr/>
        </p:nvSpPr>
        <p:spPr>
          <a:xfrm>
            <a:off x="7956736" y="2525255"/>
            <a:ext cx="1556585" cy="1556585"/>
          </a:xfrm>
          <a:prstGeom prst="ellipse">
            <a:avLst/>
          </a:prstGeom>
          <a:noFill/>
          <a:ln w="889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V" sz="1980"/>
          </a:p>
        </p:txBody>
      </p:sp>
      <p:sp>
        <p:nvSpPr>
          <p:cNvPr id="7" name="Google Shape;1062;p87">
            <a:extLst>
              <a:ext uri="{FF2B5EF4-FFF2-40B4-BE49-F238E27FC236}">
                <a16:creationId xmlns:a16="http://schemas.microsoft.com/office/drawing/2014/main" id="{09E76536-F541-5F3F-600F-E4782C35B19D}"/>
              </a:ext>
            </a:extLst>
          </p:cNvPr>
          <p:cNvSpPr txBox="1"/>
          <p:nvPr/>
        </p:nvSpPr>
        <p:spPr>
          <a:xfrm>
            <a:off x="2408889" y="2860328"/>
            <a:ext cx="1356406" cy="6601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75425" tIns="75425" rIns="75425" bIns="75425" anchor="t">
            <a:spAutoFit/>
          </a:bodyPr>
          <a:lstStyle>
            <a:lvl1pPr algn="ctr">
              <a:spcBef>
                <a:spcPts val="1000"/>
              </a:spcBef>
              <a:defRPr sz="1400" b="1"/>
            </a:lvl1pPr>
          </a:lstStyle>
          <a:p>
            <a:r>
              <a:rPr lang="en-ZA" sz="1650">
                <a:solidFill>
                  <a:schemeClr val="bg1">
                    <a:lumMod val="50000"/>
                  </a:schemeClr>
                </a:solidFill>
                <a:latin typeface="Quire Sans Pro Light"/>
                <a:ea typeface="Open Sans"/>
                <a:cs typeface="Open Sans"/>
              </a:rPr>
              <a:t>the</a:t>
            </a:r>
            <a:br>
              <a:rPr lang="en-ZA" sz="1650">
                <a:solidFill>
                  <a:schemeClr val="bg1">
                    <a:lumMod val="50000"/>
                  </a:schemeClr>
                </a:solidFill>
                <a:latin typeface="Quire Sans Pro Light"/>
                <a:ea typeface="Open Sans"/>
                <a:cs typeface="Open Sans"/>
              </a:rPr>
            </a:br>
            <a:r>
              <a:rPr lang="en-ZA" sz="1650">
                <a:solidFill>
                  <a:schemeClr val="bg1">
                    <a:lumMod val="50000"/>
                  </a:schemeClr>
                </a:solidFill>
                <a:latin typeface="Quire Sans Pro Light"/>
                <a:ea typeface="Open Sans"/>
                <a:cs typeface="Open Sans"/>
              </a:rPr>
              <a:t> skills gap</a:t>
            </a:r>
          </a:p>
        </p:txBody>
      </p:sp>
      <p:sp>
        <p:nvSpPr>
          <p:cNvPr id="9" name="Google Shape;1062;p87">
            <a:extLst>
              <a:ext uri="{FF2B5EF4-FFF2-40B4-BE49-F238E27FC236}">
                <a16:creationId xmlns:a16="http://schemas.microsoft.com/office/drawing/2014/main" id="{C2AC0D47-2C2E-35E3-5356-0A1D9091D0C0}"/>
              </a:ext>
            </a:extLst>
          </p:cNvPr>
          <p:cNvSpPr txBox="1"/>
          <p:nvPr/>
        </p:nvSpPr>
        <p:spPr>
          <a:xfrm>
            <a:off x="6183216" y="3004147"/>
            <a:ext cx="1356406" cy="6093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75425" tIns="75425" rIns="75425" bIns="75425" anchor="t">
            <a:spAutoFit/>
          </a:bodyPr>
          <a:lstStyle>
            <a:lvl1pPr algn="ctr">
              <a:spcBef>
                <a:spcPts val="1000"/>
              </a:spcBef>
              <a:defRPr sz="1400" b="1"/>
            </a:lvl1pPr>
          </a:lstStyle>
          <a:p>
            <a:r>
              <a:rPr lang="en-ZA" sz="1485" dirty="0">
                <a:solidFill>
                  <a:schemeClr val="bg1">
                    <a:lumMod val="50000"/>
                  </a:schemeClr>
                </a:solidFill>
                <a:latin typeface="Quire Sans Pro Light"/>
                <a:ea typeface="Open Sans"/>
                <a:cs typeface="Open Sans"/>
              </a:rPr>
              <a:t>from roles to skills</a:t>
            </a:r>
          </a:p>
        </p:txBody>
      </p:sp>
      <p:sp>
        <p:nvSpPr>
          <p:cNvPr id="10" name="Google Shape;1062;p87">
            <a:extLst>
              <a:ext uri="{FF2B5EF4-FFF2-40B4-BE49-F238E27FC236}">
                <a16:creationId xmlns:a16="http://schemas.microsoft.com/office/drawing/2014/main" id="{A840DD37-6880-78C9-BDF1-F46CA788890D}"/>
              </a:ext>
            </a:extLst>
          </p:cNvPr>
          <p:cNvSpPr txBox="1"/>
          <p:nvPr/>
        </p:nvSpPr>
        <p:spPr>
          <a:xfrm>
            <a:off x="8085286" y="3068622"/>
            <a:ext cx="1356406" cy="3808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75424" tIns="75424" rIns="75424" bIns="75424" anchor="t">
            <a:spAutoFit/>
          </a:bodyPr>
          <a:lstStyle>
            <a:lvl1pPr algn="ctr">
              <a:spcBef>
                <a:spcPts val="1000"/>
              </a:spcBef>
              <a:defRPr sz="1400" b="1"/>
            </a:lvl1pPr>
          </a:lstStyle>
          <a:p>
            <a:r>
              <a:rPr lang="en-ZA" sz="1485">
                <a:latin typeface="Quire Sans Pro Light"/>
                <a:ea typeface="Open Sans"/>
                <a:cs typeface="Open Sans"/>
              </a:rPr>
              <a:t>agile careers</a:t>
            </a:r>
          </a:p>
        </p:txBody>
      </p:sp>
      <p:sp>
        <p:nvSpPr>
          <p:cNvPr id="11" name="Google Shape;1062;p87">
            <a:extLst>
              <a:ext uri="{FF2B5EF4-FFF2-40B4-BE49-F238E27FC236}">
                <a16:creationId xmlns:a16="http://schemas.microsoft.com/office/drawing/2014/main" id="{F0E7D9D6-F863-ABE9-8BAA-B6562469E18C}"/>
              </a:ext>
            </a:extLst>
          </p:cNvPr>
          <p:cNvSpPr txBox="1"/>
          <p:nvPr/>
        </p:nvSpPr>
        <p:spPr>
          <a:xfrm>
            <a:off x="4317839" y="3005509"/>
            <a:ext cx="1356406" cy="6601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75425" tIns="75425" rIns="75425" bIns="75425" anchor="t">
            <a:spAutoFit/>
          </a:bodyPr>
          <a:lstStyle>
            <a:lvl1pPr algn="ctr">
              <a:spcBef>
                <a:spcPts val="1000"/>
              </a:spcBef>
              <a:defRPr sz="1400" b="1"/>
            </a:lvl1pPr>
          </a:lstStyle>
          <a:p>
            <a:r>
              <a:rPr lang="en-ZA" sz="1650" dirty="0">
                <a:solidFill>
                  <a:schemeClr val="bg1">
                    <a:lumMod val="50000"/>
                  </a:schemeClr>
                </a:solidFill>
                <a:latin typeface="Quire Sans Pro Light"/>
                <a:ea typeface="Open Sans"/>
                <a:cs typeface="Open Sans"/>
              </a:rPr>
              <a:t>demographic shif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7018076-3B7D-9A30-0E3F-618EA02392ED}"/>
              </a:ext>
            </a:extLst>
          </p:cNvPr>
          <p:cNvSpPr txBox="1"/>
          <p:nvPr/>
        </p:nvSpPr>
        <p:spPr>
          <a:xfrm>
            <a:off x="-327340" y="7334935"/>
            <a:ext cx="6510556" cy="2157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75438" tIns="37719" rIns="75438" bIns="37719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en-US" sz="907" dirty="0">
                <a:solidFill>
                  <a:schemeClr val="tx1">
                    <a:lumMod val="75000"/>
                    <a:lumOff val="25000"/>
                  </a:schemeClr>
                </a:solidFill>
                <a:latin typeface="Quire Sans Pro Light"/>
                <a:cs typeface="Calibri"/>
              </a:rPr>
              <a:t>Sources:  OECD, McKinsey Global Institute, Deloitte, PwC Global Workforce Survey, </a:t>
            </a:r>
            <a:r>
              <a:rPr lang="en-GB" sz="907" dirty="0">
                <a:solidFill>
                  <a:schemeClr val="tx1">
                    <a:lumMod val="75000"/>
                    <a:lumOff val="25000"/>
                  </a:schemeClr>
                </a:solidFill>
                <a:latin typeface="Quire Sans Pro Light"/>
                <a:cs typeface="Calibri"/>
              </a:rPr>
              <a:t>Alphabet/Google </a:t>
            </a:r>
            <a:r>
              <a:rPr lang="en-GB" sz="907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Quire Sans Pro Light"/>
                <a:cs typeface="Calibri"/>
              </a:rPr>
              <a:t>FutureSkills</a:t>
            </a:r>
            <a:endParaRPr lang="en-GB" sz="907" dirty="0">
              <a:solidFill>
                <a:schemeClr val="tx1">
                  <a:lumMod val="75000"/>
                  <a:lumOff val="25000"/>
                </a:schemeClr>
              </a:solidFill>
              <a:latin typeface="Quire Sans Pro Light"/>
              <a:cs typeface="Calibri"/>
            </a:endParaRPr>
          </a:p>
        </p:txBody>
      </p:sp>
      <p:sp>
        <p:nvSpPr>
          <p:cNvPr id="3" name="Google Shape;348;p48">
            <a:extLst>
              <a:ext uri="{FF2B5EF4-FFF2-40B4-BE49-F238E27FC236}">
                <a16:creationId xmlns:a16="http://schemas.microsoft.com/office/drawing/2014/main" id="{E0E0530B-701B-19BE-FB2E-D4479FB2B163}"/>
              </a:ext>
            </a:extLst>
          </p:cNvPr>
          <p:cNvSpPr txBox="1">
            <a:spLocks/>
          </p:cNvSpPr>
          <p:nvPr/>
        </p:nvSpPr>
        <p:spPr>
          <a:xfrm>
            <a:off x="7162800" y="7315200"/>
            <a:ext cx="2790915" cy="301228"/>
          </a:xfrm>
          <a:prstGeom prst="rect">
            <a:avLst/>
          </a:prstGeom>
        </p:spPr>
        <p:txBody>
          <a:bodyPr spcFirstLastPara="1" vert="horz" wrap="square" lIns="100568" tIns="100568" rIns="100568" bIns="100568" rtlCol="0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07" dirty="0">
                <a:solidFill>
                  <a:schemeClr val="bg2">
                    <a:lumMod val="75000"/>
                  </a:schemeClr>
                </a:solidFill>
              </a:rPr>
              <a:t>© 2012-2023 </a:t>
            </a:r>
            <a:r>
              <a:rPr lang="en-US" sz="907" dirty="0" err="1">
                <a:solidFill>
                  <a:schemeClr val="bg2">
                    <a:lumMod val="75000"/>
                  </a:schemeClr>
                </a:solidFill>
              </a:rPr>
              <a:t>Credly</a:t>
            </a:r>
            <a:r>
              <a:rPr lang="en-US" sz="907" dirty="0">
                <a:solidFill>
                  <a:schemeClr val="bg2">
                    <a:lumMod val="75000"/>
                  </a:schemeClr>
                </a:solidFill>
              </a:rPr>
              <a:t>, Inc | Proprietary | </a:t>
            </a:r>
            <a:fld id="{00000000-1234-1234-1234-123412341234}" type="slidenum">
              <a:rPr lang="en-US" sz="907" dirty="0">
                <a:solidFill>
                  <a:schemeClr val="bg2">
                    <a:lumMod val="75000"/>
                  </a:schemeClr>
                </a:solidFill>
              </a:rPr>
              <a:pPr algn="r"/>
              <a:t>7</a:t>
            </a:fld>
            <a:endParaRPr lang="en-US" sz="907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3FC5747-5D2D-DE94-790C-8951DA0E53E1}"/>
              </a:ext>
            </a:extLst>
          </p:cNvPr>
          <p:cNvSpPr/>
          <p:nvPr/>
        </p:nvSpPr>
        <p:spPr>
          <a:xfrm>
            <a:off x="7814275" y="2449954"/>
            <a:ext cx="1846257" cy="173194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8947081"/>
      </p:ext>
    </p:extLst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5" name="Google Shape;645;p91"/>
          <p:cNvGrpSpPr/>
          <p:nvPr/>
        </p:nvGrpSpPr>
        <p:grpSpPr>
          <a:xfrm>
            <a:off x="2459009" y="1917496"/>
            <a:ext cx="5083285" cy="4269792"/>
            <a:chOff x="2916822" y="1880847"/>
            <a:chExt cx="6161558" cy="4115383"/>
          </a:xfrm>
        </p:grpSpPr>
        <p:cxnSp>
          <p:nvCxnSpPr>
            <p:cNvPr id="646" name="Google Shape;646;p91"/>
            <p:cNvCxnSpPr/>
            <p:nvPr/>
          </p:nvCxnSpPr>
          <p:spPr>
            <a:xfrm>
              <a:off x="9078380" y="1892209"/>
              <a:ext cx="0" cy="4074900"/>
            </a:xfrm>
            <a:prstGeom prst="straightConnector1">
              <a:avLst/>
            </a:prstGeom>
            <a:noFill/>
            <a:ln w="9525" cap="flat" cmpd="sng">
              <a:solidFill>
                <a:srgbClr val="AFC8D8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647" name="Google Shape;647;p91"/>
            <p:cNvCxnSpPr/>
            <p:nvPr/>
          </p:nvCxnSpPr>
          <p:spPr>
            <a:xfrm>
              <a:off x="2916822" y="1880847"/>
              <a:ext cx="0" cy="4086300"/>
            </a:xfrm>
            <a:prstGeom prst="straightConnector1">
              <a:avLst/>
            </a:prstGeom>
            <a:noFill/>
            <a:ln w="9525" cap="flat" cmpd="sng">
              <a:solidFill>
                <a:srgbClr val="AFC8D8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648" name="Google Shape;648;p91"/>
            <p:cNvCxnSpPr/>
            <p:nvPr/>
          </p:nvCxnSpPr>
          <p:spPr>
            <a:xfrm>
              <a:off x="6018866" y="1909930"/>
              <a:ext cx="0" cy="4086300"/>
            </a:xfrm>
            <a:prstGeom prst="straightConnector1">
              <a:avLst/>
            </a:prstGeom>
            <a:noFill/>
            <a:ln w="9525" cap="flat" cmpd="sng">
              <a:solidFill>
                <a:srgbClr val="AFC8D8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649" name="Google Shape;649;p91"/>
          <p:cNvGrpSpPr/>
          <p:nvPr/>
        </p:nvGrpSpPr>
        <p:grpSpPr>
          <a:xfrm>
            <a:off x="1070170" y="4107577"/>
            <a:ext cx="7859477" cy="0"/>
            <a:chOff x="1297173" y="1871330"/>
            <a:chExt cx="9526639" cy="0"/>
          </a:xfrm>
        </p:grpSpPr>
        <p:cxnSp>
          <p:nvCxnSpPr>
            <p:cNvPr id="650" name="Google Shape;650;p91"/>
            <p:cNvCxnSpPr/>
            <p:nvPr/>
          </p:nvCxnSpPr>
          <p:spPr>
            <a:xfrm>
              <a:off x="1297173" y="1871330"/>
              <a:ext cx="467700" cy="0"/>
            </a:xfrm>
            <a:prstGeom prst="straightConnector1">
              <a:avLst/>
            </a:prstGeom>
            <a:noFill/>
            <a:ln w="9525" cap="flat" cmpd="sng">
              <a:solidFill>
                <a:srgbClr val="CDDDE7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651" name="Google Shape;651;p91"/>
            <p:cNvCxnSpPr/>
            <p:nvPr/>
          </p:nvCxnSpPr>
          <p:spPr>
            <a:xfrm>
              <a:off x="4316819" y="1871330"/>
              <a:ext cx="467700" cy="0"/>
            </a:xfrm>
            <a:prstGeom prst="straightConnector1">
              <a:avLst/>
            </a:prstGeom>
            <a:noFill/>
            <a:ln w="9525" cap="flat" cmpd="sng">
              <a:solidFill>
                <a:srgbClr val="CDDDE7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652" name="Google Shape;652;p91"/>
            <p:cNvCxnSpPr/>
            <p:nvPr/>
          </p:nvCxnSpPr>
          <p:spPr>
            <a:xfrm>
              <a:off x="7378996" y="1871330"/>
              <a:ext cx="467700" cy="0"/>
            </a:xfrm>
            <a:prstGeom prst="straightConnector1">
              <a:avLst/>
            </a:prstGeom>
            <a:noFill/>
            <a:ln w="9525" cap="flat" cmpd="sng">
              <a:solidFill>
                <a:srgbClr val="CDDDE7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653" name="Google Shape;653;p91"/>
            <p:cNvCxnSpPr/>
            <p:nvPr/>
          </p:nvCxnSpPr>
          <p:spPr>
            <a:xfrm>
              <a:off x="10356112" y="1871330"/>
              <a:ext cx="467700" cy="0"/>
            </a:xfrm>
            <a:prstGeom prst="straightConnector1">
              <a:avLst/>
            </a:prstGeom>
            <a:noFill/>
            <a:ln w="9525" cap="flat" cmpd="sng">
              <a:solidFill>
                <a:srgbClr val="CDDDE7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654" name="Google Shape;654;p91"/>
          <p:cNvSpPr txBox="1"/>
          <p:nvPr/>
        </p:nvSpPr>
        <p:spPr>
          <a:xfrm>
            <a:off x="2503669" y="3218847"/>
            <a:ext cx="2480940" cy="2912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5433" tIns="37703" rIns="75433" bIns="37703" anchor="t" anchorCtr="0">
            <a:noAutofit/>
          </a:bodyPr>
          <a:lstStyle/>
          <a:p>
            <a:pPr marL="13970" algn="ctr" defTabSz="1005840">
              <a:lnSpc>
                <a:spcPct val="90000"/>
              </a:lnSpc>
              <a:buClr>
                <a:srgbClr val="4181A6"/>
              </a:buClr>
              <a:buSzPts val="1400"/>
              <a:defRPr/>
            </a:pPr>
            <a:r>
              <a:rPr lang="en" sz="1540" b="1" kern="0">
                <a:solidFill>
                  <a:srgbClr val="4181A6"/>
                </a:solidFill>
                <a:latin typeface="Verdana"/>
                <a:ea typeface="Verdana"/>
                <a:cs typeface="Verdana"/>
                <a:sym typeface="Verdana"/>
              </a:rPr>
              <a:t>LEARNING</a:t>
            </a:r>
            <a:endParaRPr sz="1650" b="1" kern="0">
              <a:solidFill>
                <a:srgbClr val="4181A6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13970" lvl="1" algn="ctr" defTabSz="1005840">
              <a:lnSpc>
                <a:spcPct val="110000"/>
              </a:lnSpc>
              <a:spcBef>
                <a:spcPts val="660"/>
              </a:spcBef>
              <a:buClr>
                <a:srgbClr val="C0504D"/>
              </a:buClr>
              <a:buSzPts val="800"/>
              <a:defRPr/>
            </a:pPr>
            <a:r>
              <a:rPr lang="en" sz="1210" kern="0">
                <a:solidFill>
                  <a:srgbClr val="C0504D"/>
                </a:solidFill>
                <a:latin typeface="Verdana"/>
                <a:ea typeface="Verdana"/>
                <a:cs typeface="Verdana"/>
                <a:sym typeface="Verdana"/>
              </a:rPr>
              <a:t>Not Measured</a:t>
            </a:r>
            <a:endParaRPr sz="1210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3970" lvl="1" algn="ctr" defTabSz="1005840">
              <a:lnSpc>
                <a:spcPct val="110000"/>
              </a:lnSpc>
              <a:spcBef>
                <a:spcPts val="330"/>
              </a:spcBef>
              <a:buClr>
                <a:srgbClr val="C0504D"/>
              </a:buClr>
              <a:buSzPts val="800"/>
              <a:defRPr/>
            </a:pPr>
            <a:r>
              <a:rPr lang="en" sz="1210" kern="0">
                <a:solidFill>
                  <a:srgbClr val="C0504D"/>
                </a:solidFill>
                <a:latin typeface="Verdana"/>
                <a:ea typeface="Verdana"/>
                <a:cs typeface="Verdana"/>
                <a:sym typeface="Verdana"/>
              </a:rPr>
              <a:t>Structured Learning</a:t>
            </a:r>
            <a:endParaRPr sz="1210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3970" lvl="1" algn="ctr" defTabSz="1005840">
              <a:lnSpc>
                <a:spcPct val="110000"/>
              </a:lnSpc>
              <a:spcBef>
                <a:spcPts val="770"/>
              </a:spcBef>
              <a:buClr>
                <a:srgbClr val="073264"/>
              </a:buClr>
              <a:buSzPts val="800"/>
              <a:defRPr/>
            </a:pPr>
            <a:endParaRPr sz="1210" kern="0">
              <a:solidFill>
                <a:srgbClr val="3C3D3F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13970" lvl="1" algn="ctr" defTabSz="1005840">
              <a:lnSpc>
                <a:spcPct val="110000"/>
              </a:lnSpc>
              <a:spcBef>
                <a:spcPts val="330"/>
              </a:spcBef>
              <a:buClr>
                <a:srgbClr val="3C3D3F"/>
              </a:buClr>
              <a:buSzPts val="700"/>
              <a:defRPr/>
            </a:pPr>
            <a:br>
              <a:rPr lang="en" sz="990" i="1" kern="0">
                <a:solidFill>
                  <a:srgbClr val="3C3D3F"/>
                </a:solidFill>
                <a:latin typeface="Verdana"/>
                <a:ea typeface="Verdana"/>
                <a:cs typeface="Verdana"/>
                <a:sym typeface="Verdana"/>
              </a:rPr>
            </a:br>
            <a:r>
              <a:rPr lang="en" sz="990" i="1" kern="0">
                <a:solidFill>
                  <a:srgbClr val="3C3D3F"/>
                </a:solidFill>
                <a:latin typeface="Verdana"/>
                <a:ea typeface="Verdana"/>
                <a:cs typeface="Verdana"/>
                <a:sym typeface="Verdana"/>
              </a:rPr>
              <a:t>Self-Led Learning</a:t>
            </a:r>
            <a:endParaRPr sz="1210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3970" lvl="1" algn="ctr" defTabSz="1005840">
              <a:lnSpc>
                <a:spcPct val="110000"/>
              </a:lnSpc>
              <a:spcBef>
                <a:spcPts val="660"/>
              </a:spcBef>
              <a:buClr>
                <a:srgbClr val="3C3D3F"/>
              </a:buClr>
              <a:buSzPts val="700"/>
              <a:defRPr/>
            </a:pPr>
            <a:r>
              <a:rPr lang="en" sz="990" i="1" kern="0">
                <a:solidFill>
                  <a:srgbClr val="3C3D3F"/>
                </a:solidFill>
                <a:latin typeface="Verdana"/>
                <a:ea typeface="Verdana"/>
                <a:cs typeface="Verdana"/>
                <a:sym typeface="Verdana"/>
              </a:rPr>
              <a:t>Soft Skills </a:t>
            </a:r>
            <a:endParaRPr sz="1210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3970" lvl="1" algn="ctr" defTabSz="1005840">
              <a:lnSpc>
                <a:spcPct val="110000"/>
              </a:lnSpc>
              <a:spcBef>
                <a:spcPts val="660"/>
              </a:spcBef>
              <a:buClr>
                <a:srgbClr val="3C3D3F"/>
              </a:buClr>
              <a:buSzPts val="700"/>
              <a:defRPr/>
            </a:pPr>
            <a:r>
              <a:rPr lang="en" sz="990" i="1" kern="0">
                <a:solidFill>
                  <a:srgbClr val="3C3D3F"/>
                </a:solidFill>
                <a:latin typeface="Verdana"/>
                <a:ea typeface="Verdana"/>
                <a:cs typeface="Verdana"/>
                <a:sym typeface="Verdana"/>
              </a:rPr>
              <a:t>Professionalism</a:t>
            </a:r>
            <a:endParaRPr sz="1210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3970" lvl="1" algn="ctr" defTabSz="1005840">
              <a:lnSpc>
                <a:spcPct val="110000"/>
              </a:lnSpc>
              <a:spcBef>
                <a:spcPts val="660"/>
              </a:spcBef>
              <a:buClr>
                <a:srgbClr val="3C3D3F"/>
              </a:buClr>
              <a:buSzPts val="700"/>
              <a:defRPr/>
            </a:pPr>
            <a:r>
              <a:rPr lang="en" sz="990" i="1" kern="0">
                <a:solidFill>
                  <a:srgbClr val="3C3D3F"/>
                </a:solidFill>
                <a:latin typeface="Verdana"/>
                <a:ea typeface="Verdana"/>
                <a:cs typeface="Verdana"/>
                <a:sym typeface="Verdana"/>
              </a:rPr>
              <a:t>Competencies</a:t>
            </a:r>
            <a:endParaRPr sz="1210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3970" lvl="1" algn="ctr" defTabSz="1005840">
              <a:lnSpc>
                <a:spcPct val="110000"/>
              </a:lnSpc>
              <a:spcBef>
                <a:spcPts val="660"/>
              </a:spcBef>
              <a:buClr>
                <a:srgbClr val="3C3D3F"/>
              </a:buClr>
              <a:buSzPts val="700"/>
              <a:defRPr/>
            </a:pPr>
            <a:r>
              <a:rPr lang="en" sz="990" i="1" kern="0">
                <a:solidFill>
                  <a:srgbClr val="3C3D3F"/>
                </a:solidFill>
                <a:latin typeface="Verdana"/>
                <a:ea typeface="Verdana"/>
                <a:cs typeface="Verdana"/>
                <a:sym typeface="Verdana"/>
              </a:rPr>
              <a:t>Product Knowledge</a:t>
            </a:r>
            <a:endParaRPr sz="1210" i="1" kern="0">
              <a:solidFill>
                <a:srgbClr val="3C3D3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655" name="Google Shape;655;p91"/>
          <p:cNvSpPr txBox="1"/>
          <p:nvPr/>
        </p:nvSpPr>
        <p:spPr>
          <a:xfrm>
            <a:off x="0" y="3218847"/>
            <a:ext cx="2480940" cy="2912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5433" tIns="37703" rIns="75433" bIns="37703" anchor="t" anchorCtr="0">
            <a:noAutofit/>
          </a:bodyPr>
          <a:lstStyle/>
          <a:p>
            <a:pPr marL="13970" algn="ctr" defTabSz="1005840">
              <a:lnSpc>
                <a:spcPct val="90000"/>
              </a:lnSpc>
              <a:buClr>
                <a:srgbClr val="4181A6"/>
              </a:buClr>
              <a:buSzPts val="1400"/>
              <a:defRPr/>
            </a:pPr>
            <a:r>
              <a:rPr lang="en" sz="1540" b="1" kern="0" dirty="0">
                <a:solidFill>
                  <a:srgbClr val="4181A6"/>
                </a:solidFill>
                <a:latin typeface="Arial"/>
                <a:ea typeface="Arial"/>
                <a:cs typeface="Arial"/>
                <a:sym typeface="Arial"/>
              </a:rPr>
              <a:t>EXPERIENCE</a:t>
            </a:r>
            <a:endParaRPr sz="121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3970" lvl="1" algn="ctr" defTabSz="1005840">
              <a:lnSpc>
                <a:spcPct val="110000"/>
              </a:lnSpc>
              <a:spcBef>
                <a:spcPts val="660"/>
              </a:spcBef>
              <a:buClr>
                <a:srgbClr val="C0504D"/>
              </a:buClr>
              <a:buSzPts val="1100"/>
              <a:defRPr/>
            </a:pPr>
            <a:r>
              <a:rPr lang="en" sz="1210" kern="0" dirty="0">
                <a:solidFill>
                  <a:srgbClr val="C0504D"/>
                </a:solidFill>
                <a:latin typeface="Arial"/>
                <a:ea typeface="Arial"/>
                <a:cs typeface="Arial"/>
                <a:sym typeface="Arial"/>
              </a:rPr>
              <a:t>Not Measured</a:t>
            </a:r>
            <a:endParaRPr sz="121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3970" lvl="1" algn="ctr" defTabSz="1005840">
              <a:lnSpc>
                <a:spcPct val="110000"/>
              </a:lnSpc>
              <a:spcBef>
                <a:spcPts val="330"/>
              </a:spcBef>
              <a:buClr>
                <a:srgbClr val="C0504D"/>
              </a:buClr>
              <a:buSzPts val="1100"/>
              <a:defRPr/>
            </a:pPr>
            <a:r>
              <a:rPr lang="en" sz="1210" kern="0" dirty="0">
                <a:solidFill>
                  <a:srgbClr val="C0504D"/>
                </a:solidFill>
                <a:latin typeface="Arial"/>
                <a:ea typeface="Arial"/>
                <a:cs typeface="Arial"/>
                <a:sym typeface="Arial"/>
              </a:rPr>
              <a:t>Unstructured Learning</a:t>
            </a:r>
            <a:endParaRPr sz="121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3970" lvl="1" algn="ctr" defTabSz="1005840">
              <a:lnSpc>
                <a:spcPct val="110000"/>
              </a:lnSpc>
              <a:spcBef>
                <a:spcPts val="770"/>
              </a:spcBef>
              <a:buClr>
                <a:prstClr val="black"/>
              </a:buClr>
              <a:buSzPts val="1100"/>
              <a:defRPr/>
            </a:pPr>
            <a:endParaRPr sz="1210" kern="0" dirty="0">
              <a:solidFill>
                <a:srgbClr val="3C3D3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3970" lvl="1" algn="ctr" defTabSz="1005840">
              <a:lnSpc>
                <a:spcPct val="110000"/>
              </a:lnSpc>
              <a:spcBef>
                <a:spcPts val="330"/>
              </a:spcBef>
              <a:buClr>
                <a:srgbClr val="3C3D3F"/>
              </a:buClr>
              <a:buSzPts val="900"/>
              <a:defRPr/>
            </a:pPr>
            <a:br>
              <a:rPr lang="en" sz="990" i="1" kern="0" dirty="0">
                <a:solidFill>
                  <a:srgbClr val="3C3D3F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" sz="990" i="1" kern="0" dirty="0">
                <a:solidFill>
                  <a:srgbClr val="3C3D3F"/>
                </a:solidFill>
                <a:latin typeface="Arial"/>
                <a:ea typeface="Arial"/>
                <a:cs typeface="Arial"/>
                <a:sym typeface="Arial"/>
              </a:rPr>
              <a:t>Events/Conferences</a:t>
            </a:r>
            <a:endParaRPr sz="121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3970" lvl="1" algn="ctr" defTabSz="1005840">
              <a:lnSpc>
                <a:spcPct val="110000"/>
              </a:lnSpc>
              <a:spcBef>
                <a:spcPts val="660"/>
              </a:spcBef>
              <a:buClr>
                <a:srgbClr val="3C3D3F"/>
              </a:buClr>
              <a:buSzPts val="900"/>
              <a:defRPr/>
            </a:pPr>
            <a:r>
              <a:rPr lang="en" sz="990" i="1" kern="0" dirty="0">
                <a:solidFill>
                  <a:srgbClr val="3C3D3F"/>
                </a:solidFill>
                <a:latin typeface="Arial"/>
                <a:ea typeface="Arial"/>
                <a:cs typeface="Arial"/>
                <a:sym typeface="Arial"/>
              </a:rPr>
              <a:t>Participation </a:t>
            </a:r>
            <a:endParaRPr sz="121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3970" lvl="1" algn="ctr" defTabSz="1005840">
              <a:lnSpc>
                <a:spcPct val="110000"/>
              </a:lnSpc>
              <a:spcBef>
                <a:spcPts val="660"/>
              </a:spcBef>
              <a:buClr>
                <a:srgbClr val="3C3D3F"/>
              </a:buClr>
              <a:buSzPts val="900"/>
              <a:defRPr/>
            </a:pPr>
            <a:r>
              <a:rPr lang="en" sz="990" i="1" kern="0" dirty="0">
                <a:solidFill>
                  <a:srgbClr val="3C3D3F"/>
                </a:solidFill>
                <a:latin typeface="Arial"/>
                <a:ea typeface="Arial"/>
                <a:cs typeface="Arial"/>
                <a:sym typeface="Arial"/>
              </a:rPr>
              <a:t>Membership </a:t>
            </a:r>
            <a:endParaRPr sz="121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3970" lvl="1" algn="ctr" defTabSz="1005840">
              <a:lnSpc>
                <a:spcPct val="110000"/>
              </a:lnSpc>
              <a:spcBef>
                <a:spcPts val="660"/>
              </a:spcBef>
              <a:buClr>
                <a:srgbClr val="3C3D3F"/>
              </a:buClr>
              <a:buSzPts val="900"/>
              <a:defRPr/>
            </a:pPr>
            <a:r>
              <a:rPr lang="en" sz="990" i="1" kern="0" dirty="0">
                <a:solidFill>
                  <a:srgbClr val="3C3D3F"/>
                </a:solidFill>
                <a:latin typeface="Arial"/>
                <a:ea typeface="Arial"/>
                <a:cs typeface="Arial"/>
                <a:sym typeface="Arial"/>
              </a:rPr>
              <a:t>Volunteering</a:t>
            </a:r>
            <a:endParaRPr sz="121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3970" lvl="1" algn="ctr" defTabSz="1005840">
              <a:lnSpc>
                <a:spcPct val="110000"/>
              </a:lnSpc>
              <a:spcBef>
                <a:spcPts val="660"/>
              </a:spcBef>
              <a:buClr>
                <a:srgbClr val="3C3D3F"/>
              </a:buClr>
              <a:buSzPts val="900"/>
              <a:defRPr/>
            </a:pPr>
            <a:r>
              <a:rPr lang="en" sz="990" i="1" kern="0" dirty="0">
                <a:solidFill>
                  <a:srgbClr val="3C3D3F"/>
                </a:solidFill>
                <a:latin typeface="Arial"/>
                <a:ea typeface="Arial"/>
                <a:cs typeface="Arial"/>
                <a:sym typeface="Arial"/>
              </a:rPr>
              <a:t>Projects</a:t>
            </a:r>
            <a:endParaRPr sz="121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3970" lvl="1" algn="ctr" defTabSz="1005840">
              <a:lnSpc>
                <a:spcPct val="110000"/>
              </a:lnSpc>
              <a:spcBef>
                <a:spcPts val="660"/>
              </a:spcBef>
              <a:buClr>
                <a:srgbClr val="3C3D3F"/>
              </a:buClr>
              <a:buSzPts val="900"/>
              <a:defRPr/>
            </a:pPr>
            <a:r>
              <a:rPr lang="en" sz="990" i="1" kern="0" dirty="0">
                <a:solidFill>
                  <a:srgbClr val="3C3D3F"/>
                </a:solidFill>
                <a:latin typeface="Arial"/>
                <a:ea typeface="Arial"/>
                <a:cs typeface="Arial"/>
                <a:sym typeface="Arial"/>
              </a:rPr>
              <a:t>Hackathons</a:t>
            </a:r>
            <a:endParaRPr sz="121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3970" lvl="1" algn="ctr" defTabSz="1005840">
              <a:lnSpc>
                <a:spcPct val="110000"/>
              </a:lnSpc>
              <a:spcBef>
                <a:spcPts val="660"/>
              </a:spcBef>
              <a:buClr>
                <a:srgbClr val="3C3D3F"/>
              </a:buClr>
              <a:buSzPts val="900"/>
              <a:defRPr/>
            </a:pPr>
            <a:br>
              <a:rPr lang="en" sz="990" i="1" kern="0" dirty="0">
                <a:solidFill>
                  <a:srgbClr val="3C3D3F"/>
                </a:solidFill>
                <a:latin typeface="Arial"/>
                <a:ea typeface="Arial"/>
                <a:cs typeface="Arial"/>
                <a:sym typeface="Arial"/>
              </a:rPr>
            </a:br>
            <a:endParaRPr sz="990" i="1" kern="0" dirty="0">
              <a:solidFill>
                <a:srgbClr val="3C3D3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6" name="Google Shape;656;p91"/>
          <p:cNvSpPr txBox="1"/>
          <p:nvPr/>
        </p:nvSpPr>
        <p:spPr>
          <a:xfrm>
            <a:off x="5022589" y="3260757"/>
            <a:ext cx="2432100" cy="30478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5433" tIns="37703" rIns="75433" bIns="37703" anchor="t" anchorCtr="0">
            <a:noAutofit/>
          </a:bodyPr>
          <a:lstStyle/>
          <a:p>
            <a:pPr marL="13970" algn="ctr" defTabSz="1005840">
              <a:lnSpc>
                <a:spcPct val="90000"/>
              </a:lnSpc>
              <a:buClr>
                <a:srgbClr val="4181A6"/>
              </a:buClr>
              <a:buSzPts val="1400"/>
              <a:defRPr/>
            </a:pPr>
            <a:r>
              <a:rPr lang="en" sz="1540" b="1" kern="0">
                <a:solidFill>
                  <a:srgbClr val="4181A6"/>
                </a:solidFill>
                <a:latin typeface="Verdana"/>
                <a:ea typeface="Verdana"/>
                <a:cs typeface="Verdana"/>
                <a:sym typeface="Verdana"/>
              </a:rPr>
              <a:t>VALIDATION</a:t>
            </a:r>
            <a:endParaRPr sz="1650" b="1" kern="0">
              <a:solidFill>
                <a:srgbClr val="4181A6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13970" lvl="1" algn="ctr" defTabSz="1005840">
              <a:lnSpc>
                <a:spcPct val="110000"/>
              </a:lnSpc>
              <a:spcBef>
                <a:spcPts val="660"/>
              </a:spcBef>
              <a:buClr>
                <a:srgbClr val="C0504D"/>
              </a:buClr>
              <a:buSzPts val="800"/>
              <a:defRPr/>
            </a:pPr>
            <a:r>
              <a:rPr lang="en" sz="1210" kern="0">
                <a:solidFill>
                  <a:srgbClr val="C0504D"/>
                </a:solidFill>
                <a:latin typeface="Verdana"/>
                <a:ea typeface="Verdana"/>
                <a:cs typeface="Verdana"/>
                <a:sym typeface="Verdana"/>
              </a:rPr>
              <a:t>Measured</a:t>
            </a:r>
            <a:endParaRPr sz="1210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3970" lvl="1" algn="ctr" defTabSz="1005840">
              <a:lnSpc>
                <a:spcPct val="110000"/>
              </a:lnSpc>
              <a:spcBef>
                <a:spcPts val="330"/>
              </a:spcBef>
              <a:buClr>
                <a:srgbClr val="C0504D"/>
              </a:buClr>
              <a:buSzPts val="800"/>
              <a:defRPr/>
            </a:pPr>
            <a:r>
              <a:rPr lang="en" sz="1210" kern="0">
                <a:solidFill>
                  <a:srgbClr val="C0504D"/>
                </a:solidFill>
                <a:latin typeface="Verdana"/>
                <a:ea typeface="Verdana"/>
                <a:cs typeface="Verdana"/>
                <a:sym typeface="Verdana"/>
              </a:rPr>
              <a:t>Validated Learning</a:t>
            </a:r>
            <a:endParaRPr sz="1210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3970" lvl="1" algn="ctr" defTabSz="1005840">
              <a:lnSpc>
                <a:spcPct val="110000"/>
              </a:lnSpc>
              <a:spcBef>
                <a:spcPts val="770"/>
              </a:spcBef>
              <a:buClr>
                <a:srgbClr val="073264"/>
              </a:buClr>
              <a:buSzPts val="800"/>
              <a:defRPr/>
            </a:pPr>
            <a:endParaRPr sz="1210" kern="0">
              <a:solidFill>
                <a:srgbClr val="C0504D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13970" lvl="1" algn="ctr" defTabSz="1005840">
              <a:lnSpc>
                <a:spcPct val="110000"/>
              </a:lnSpc>
              <a:spcBef>
                <a:spcPts val="330"/>
              </a:spcBef>
              <a:buClr>
                <a:srgbClr val="3C3D3F"/>
              </a:buClr>
              <a:buSzPts val="700"/>
              <a:defRPr/>
            </a:pPr>
            <a:br>
              <a:rPr lang="en" sz="990" i="1" kern="0">
                <a:solidFill>
                  <a:srgbClr val="3C3D3F"/>
                </a:solidFill>
                <a:latin typeface="Verdana"/>
                <a:ea typeface="Verdana"/>
                <a:cs typeface="Verdana"/>
                <a:sym typeface="Verdana"/>
              </a:rPr>
            </a:br>
            <a:r>
              <a:rPr lang="en" sz="990" i="1" kern="0">
                <a:solidFill>
                  <a:srgbClr val="3C3D3F"/>
                </a:solidFill>
                <a:latin typeface="Verdana"/>
                <a:ea typeface="Verdana"/>
                <a:cs typeface="Verdana"/>
                <a:sym typeface="Verdana"/>
              </a:rPr>
              <a:t>Learning + </a:t>
            </a:r>
            <a:br>
              <a:rPr lang="en" sz="990" i="1" kern="0">
                <a:solidFill>
                  <a:srgbClr val="3C3D3F"/>
                </a:solidFill>
                <a:latin typeface="Verdana"/>
                <a:ea typeface="Verdana"/>
                <a:cs typeface="Verdana"/>
                <a:sym typeface="Verdana"/>
              </a:rPr>
            </a:br>
            <a:r>
              <a:rPr lang="en" sz="990" i="1" kern="0">
                <a:solidFill>
                  <a:srgbClr val="3C3D3F"/>
                </a:solidFill>
                <a:latin typeface="Verdana"/>
                <a:ea typeface="Verdana"/>
                <a:cs typeface="Verdana"/>
                <a:sym typeface="Verdana"/>
              </a:rPr>
              <a:t>Assessment</a:t>
            </a:r>
            <a:endParaRPr sz="1210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3970" lvl="1" algn="ctr" defTabSz="1005840">
              <a:lnSpc>
                <a:spcPct val="110000"/>
              </a:lnSpc>
              <a:spcBef>
                <a:spcPts val="660"/>
              </a:spcBef>
              <a:buClr>
                <a:srgbClr val="3C3D3F"/>
              </a:buClr>
              <a:buSzPts val="700"/>
              <a:defRPr/>
            </a:pPr>
            <a:r>
              <a:rPr lang="en" sz="990" i="1" kern="0">
                <a:solidFill>
                  <a:srgbClr val="3C3D3F"/>
                </a:solidFill>
                <a:latin typeface="Verdana"/>
                <a:ea typeface="Verdana"/>
                <a:cs typeface="Verdana"/>
                <a:sym typeface="Verdana"/>
              </a:rPr>
              <a:t>Portfolio/</a:t>
            </a:r>
            <a:br>
              <a:rPr lang="en" sz="990" i="1" kern="0">
                <a:solidFill>
                  <a:srgbClr val="3C3D3F"/>
                </a:solidFill>
                <a:latin typeface="Verdana"/>
                <a:ea typeface="Verdana"/>
                <a:cs typeface="Verdana"/>
                <a:sym typeface="Verdana"/>
              </a:rPr>
            </a:br>
            <a:r>
              <a:rPr lang="en" sz="990" i="1" kern="0">
                <a:solidFill>
                  <a:srgbClr val="3C3D3F"/>
                </a:solidFill>
                <a:latin typeface="Verdana"/>
                <a:ea typeface="Verdana"/>
                <a:cs typeface="Verdana"/>
                <a:sym typeface="Verdana"/>
              </a:rPr>
              <a:t>Evidence</a:t>
            </a:r>
            <a:endParaRPr sz="1210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3970" lvl="1" algn="ctr" defTabSz="1005840">
              <a:lnSpc>
                <a:spcPct val="110000"/>
              </a:lnSpc>
              <a:spcBef>
                <a:spcPts val="660"/>
              </a:spcBef>
              <a:buClr>
                <a:srgbClr val="3C3D3F"/>
              </a:buClr>
              <a:buSzPts val="700"/>
              <a:defRPr/>
            </a:pPr>
            <a:r>
              <a:rPr lang="en" sz="990" i="1" kern="0">
                <a:solidFill>
                  <a:srgbClr val="3C3D3F"/>
                </a:solidFill>
                <a:latin typeface="Verdana"/>
                <a:ea typeface="Verdana"/>
                <a:cs typeface="Verdana"/>
                <a:sym typeface="Verdana"/>
              </a:rPr>
              <a:t>SME Review/</a:t>
            </a:r>
            <a:br>
              <a:rPr lang="en" sz="990" i="1" kern="0">
                <a:solidFill>
                  <a:srgbClr val="3C3D3F"/>
                </a:solidFill>
                <a:latin typeface="Verdana"/>
                <a:ea typeface="Verdana"/>
                <a:cs typeface="Verdana"/>
                <a:sym typeface="Verdana"/>
              </a:rPr>
            </a:br>
            <a:r>
              <a:rPr lang="en" sz="990" i="1" kern="0">
                <a:solidFill>
                  <a:srgbClr val="3C3D3F"/>
                </a:solidFill>
                <a:latin typeface="Verdana"/>
                <a:ea typeface="Verdana"/>
                <a:cs typeface="Verdana"/>
                <a:sym typeface="Verdana"/>
              </a:rPr>
              <a:t>Peer Review</a:t>
            </a:r>
            <a:endParaRPr sz="1210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7" name="Google Shape;657;p91"/>
          <p:cNvSpPr txBox="1"/>
          <p:nvPr/>
        </p:nvSpPr>
        <p:spPr>
          <a:xfrm>
            <a:off x="7521934" y="3260757"/>
            <a:ext cx="2480940" cy="2912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5433" tIns="37703" rIns="75433" bIns="37703" anchor="t" anchorCtr="0">
            <a:noAutofit/>
          </a:bodyPr>
          <a:lstStyle/>
          <a:p>
            <a:pPr marL="13970" algn="ctr" defTabSz="1005840">
              <a:lnSpc>
                <a:spcPct val="90000"/>
              </a:lnSpc>
              <a:buClr>
                <a:srgbClr val="4181A6"/>
              </a:buClr>
              <a:buSzPts val="1400"/>
              <a:defRPr/>
            </a:pPr>
            <a:r>
              <a:rPr lang="en" sz="1540" b="1" kern="0">
                <a:solidFill>
                  <a:srgbClr val="4181A6"/>
                </a:solidFill>
                <a:latin typeface="Verdana"/>
                <a:ea typeface="Verdana"/>
                <a:cs typeface="Verdana"/>
                <a:sym typeface="Verdana"/>
              </a:rPr>
              <a:t>CERTIFICATION</a:t>
            </a:r>
            <a:endParaRPr sz="1650" b="1" kern="0">
              <a:solidFill>
                <a:srgbClr val="4181A6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13970" lvl="1" algn="ctr" defTabSz="1005840">
              <a:lnSpc>
                <a:spcPct val="110000"/>
              </a:lnSpc>
              <a:spcBef>
                <a:spcPts val="660"/>
              </a:spcBef>
              <a:buClr>
                <a:srgbClr val="C0504D"/>
              </a:buClr>
              <a:buSzPts val="800"/>
              <a:defRPr/>
            </a:pPr>
            <a:r>
              <a:rPr lang="en" sz="1210" kern="0">
                <a:solidFill>
                  <a:srgbClr val="C0504D"/>
                </a:solidFill>
                <a:latin typeface="Verdana"/>
                <a:ea typeface="Verdana"/>
                <a:cs typeface="Verdana"/>
                <a:sym typeface="Verdana"/>
              </a:rPr>
              <a:t>Measured</a:t>
            </a:r>
            <a:endParaRPr sz="1210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3970" lvl="1" algn="ctr" defTabSz="1005840">
              <a:lnSpc>
                <a:spcPct val="110000"/>
              </a:lnSpc>
              <a:spcBef>
                <a:spcPts val="330"/>
              </a:spcBef>
              <a:buClr>
                <a:srgbClr val="C0504D"/>
              </a:buClr>
              <a:buSzPts val="800"/>
              <a:defRPr/>
            </a:pPr>
            <a:r>
              <a:rPr lang="en" sz="1210" kern="0">
                <a:solidFill>
                  <a:srgbClr val="C0504D"/>
                </a:solidFill>
                <a:latin typeface="Verdana"/>
                <a:ea typeface="Verdana"/>
                <a:cs typeface="Verdana"/>
                <a:sym typeface="Verdana"/>
              </a:rPr>
              <a:t>Validated Achievement</a:t>
            </a:r>
            <a:endParaRPr sz="1210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3970" lvl="1" algn="ctr" defTabSz="1005840">
              <a:lnSpc>
                <a:spcPct val="110000"/>
              </a:lnSpc>
              <a:spcBef>
                <a:spcPts val="770"/>
              </a:spcBef>
              <a:buClr>
                <a:srgbClr val="073264"/>
              </a:buClr>
              <a:buSzPts val="800"/>
              <a:defRPr/>
            </a:pPr>
            <a:endParaRPr sz="1210" kern="0">
              <a:solidFill>
                <a:srgbClr val="3C3D3F"/>
              </a:solidFill>
              <a:latin typeface="Verdana"/>
              <a:ea typeface="Verdana"/>
              <a:cs typeface="Verdana"/>
              <a:sym typeface="Verdana"/>
            </a:endParaRPr>
          </a:p>
          <a:p>
            <a:pPr marL="13970" lvl="1" algn="ctr" defTabSz="1005840">
              <a:lnSpc>
                <a:spcPct val="110000"/>
              </a:lnSpc>
              <a:spcBef>
                <a:spcPts val="330"/>
              </a:spcBef>
              <a:buClr>
                <a:srgbClr val="3C3D3F"/>
              </a:buClr>
              <a:buSzPts val="700"/>
              <a:defRPr/>
            </a:pPr>
            <a:br>
              <a:rPr lang="en" sz="990" i="1" kern="0">
                <a:solidFill>
                  <a:srgbClr val="3C3D3F"/>
                </a:solidFill>
                <a:latin typeface="Verdana"/>
                <a:ea typeface="Verdana"/>
                <a:cs typeface="Verdana"/>
                <a:sym typeface="Verdana"/>
              </a:rPr>
            </a:br>
            <a:r>
              <a:rPr lang="en" sz="990" i="1" kern="0">
                <a:solidFill>
                  <a:srgbClr val="3C3D3F"/>
                </a:solidFill>
                <a:latin typeface="Verdana"/>
                <a:ea typeface="Verdana"/>
                <a:cs typeface="Verdana"/>
                <a:sym typeface="Verdana"/>
              </a:rPr>
              <a:t>Credentials </a:t>
            </a:r>
            <a:br>
              <a:rPr lang="en" sz="990" i="1" kern="0">
                <a:solidFill>
                  <a:srgbClr val="3C3D3F"/>
                </a:solidFill>
                <a:latin typeface="Verdana"/>
                <a:ea typeface="Verdana"/>
                <a:cs typeface="Verdana"/>
                <a:sym typeface="Verdana"/>
              </a:rPr>
            </a:br>
            <a:r>
              <a:rPr lang="en" sz="990" i="1" kern="0">
                <a:solidFill>
                  <a:srgbClr val="3C3D3F"/>
                </a:solidFill>
                <a:latin typeface="Verdana"/>
                <a:ea typeface="Verdana"/>
                <a:cs typeface="Verdana"/>
                <a:sym typeface="Verdana"/>
              </a:rPr>
              <a:t>Industry </a:t>
            </a:r>
            <a:br>
              <a:rPr lang="en" sz="990" i="1" kern="0">
                <a:solidFill>
                  <a:srgbClr val="3C3D3F"/>
                </a:solidFill>
                <a:latin typeface="Verdana"/>
                <a:ea typeface="Verdana"/>
                <a:cs typeface="Verdana"/>
                <a:sym typeface="Verdana"/>
              </a:rPr>
            </a:br>
            <a:r>
              <a:rPr lang="en" sz="990" i="1" kern="0">
                <a:solidFill>
                  <a:srgbClr val="3C3D3F"/>
                </a:solidFill>
                <a:latin typeface="Verdana"/>
                <a:ea typeface="Verdana"/>
                <a:cs typeface="Verdana"/>
                <a:sym typeface="Verdana"/>
              </a:rPr>
              <a:t>Certification</a:t>
            </a:r>
            <a:endParaRPr sz="1210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3970" lvl="1" algn="ctr" defTabSz="1005840">
              <a:lnSpc>
                <a:spcPct val="110000"/>
              </a:lnSpc>
              <a:spcBef>
                <a:spcPts val="660"/>
              </a:spcBef>
              <a:buClr>
                <a:srgbClr val="3C3D3F"/>
              </a:buClr>
              <a:buSzPts val="700"/>
              <a:defRPr/>
            </a:pPr>
            <a:r>
              <a:rPr lang="en" sz="990" i="1" kern="0">
                <a:solidFill>
                  <a:srgbClr val="3C3D3F"/>
                </a:solidFill>
                <a:latin typeface="Verdana"/>
                <a:ea typeface="Verdana"/>
                <a:cs typeface="Verdana"/>
                <a:sym typeface="Verdana"/>
              </a:rPr>
              <a:t>Diplomas and Degrees</a:t>
            </a:r>
            <a:endParaRPr sz="1210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3970" lvl="1" algn="ctr" defTabSz="1005840">
              <a:lnSpc>
                <a:spcPct val="110000"/>
              </a:lnSpc>
              <a:spcBef>
                <a:spcPts val="660"/>
              </a:spcBef>
              <a:buClr>
                <a:srgbClr val="3C3D3F"/>
              </a:buClr>
              <a:buSzPts val="700"/>
              <a:defRPr/>
            </a:pPr>
            <a:r>
              <a:rPr lang="en" sz="990" i="1" kern="0">
                <a:solidFill>
                  <a:srgbClr val="3C3D3F"/>
                </a:solidFill>
                <a:latin typeface="Verdana"/>
                <a:ea typeface="Verdana"/>
                <a:cs typeface="Verdana"/>
                <a:sym typeface="Verdana"/>
              </a:rPr>
              <a:t>Certificate </a:t>
            </a:r>
            <a:br>
              <a:rPr lang="en" sz="990" i="1" kern="0">
                <a:solidFill>
                  <a:srgbClr val="3C3D3F"/>
                </a:solidFill>
                <a:latin typeface="Verdana"/>
                <a:ea typeface="Verdana"/>
                <a:cs typeface="Verdana"/>
                <a:sym typeface="Verdana"/>
              </a:rPr>
            </a:br>
            <a:r>
              <a:rPr lang="en" sz="990" i="1" kern="0">
                <a:solidFill>
                  <a:srgbClr val="3C3D3F"/>
                </a:solidFill>
                <a:latin typeface="Verdana"/>
                <a:ea typeface="Verdana"/>
                <a:cs typeface="Verdana"/>
                <a:sym typeface="Verdana"/>
              </a:rPr>
              <a:t>Programs </a:t>
            </a:r>
            <a:endParaRPr sz="1210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3970" lvl="1" algn="ctr" defTabSz="1005840">
              <a:lnSpc>
                <a:spcPct val="110000"/>
              </a:lnSpc>
              <a:spcBef>
                <a:spcPts val="660"/>
              </a:spcBef>
              <a:buClr>
                <a:srgbClr val="3C3D3F"/>
              </a:buClr>
              <a:buSzPts val="700"/>
              <a:defRPr/>
            </a:pPr>
            <a:r>
              <a:rPr lang="en" sz="990" i="1" kern="0">
                <a:solidFill>
                  <a:srgbClr val="3C3D3F"/>
                </a:solidFill>
                <a:latin typeface="Verdana"/>
                <a:ea typeface="Verdana"/>
                <a:cs typeface="Verdana"/>
                <a:sym typeface="Verdana"/>
              </a:rPr>
              <a:t>License </a:t>
            </a:r>
            <a:endParaRPr sz="1650" i="1" kern="0">
              <a:solidFill>
                <a:srgbClr val="3C3D3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pic>
        <p:nvPicPr>
          <p:cNvPr id="658" name="Google Shape;658;p91" descr="Project Management Professional (PMP)®">
            <a:hlinkClick r:id="rId3"/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166500" y="1950234"/>
            <a:ext cx="1191815" cy="1191815"/>
          </a:xfrm>
          <a:prstGeom prst="rect">
            <a:avLst/>
          </a:prstGeom>
          <a:noFill/>
          <a:ln>
            <a:noFill/>
          </a:ln>
        </p:spPr>
      </p:pic>
      <p:sp>
        <p:nvSpPr>
          <p:cNvPr id="659" name="Google Shape;659;p91"/>
          <p:cNvSpPr txBox="1">
            <a:spLocks noGrp="1"/>
          </p:cNvSpPr>
          <p:nvPr>
            <p:ph type="title"/>
          </p:nvPr>
        </p:nvSpPr>
        <p:spPr>
          <a:xfrm>
            <a:off x="457200" y="326646"/>
            <a:ext cx="9372660" cy="629970"/>
          </a:xfrm>
          <a:prstGeom prst="rect">
            <a:avLst/>
          </a:prstGeom>
        </p:spPr>
        <p:txBody>
          <a:bodyPr spcFirstLastPara="1" wrap="square" lIns="100568" tIns="100568" rIns="100568" bIns="100568" anchor="t" anchorCtr="0">
            <a:noAutofit/>
          </a:bodyPr>
          <a:lstStyle/>
          <a:p>
            <a:pPr algn="l"/>
            <a:r>
              <a:rPr lang="en" dirty="0"/>
              <a:t>Spectrum of Digital Credential Recognition</a:t>
            </a:r>
            <a:endParaRPr dirty="0"/>
          </a:p>
        </p:txBody>
      </p:sp>
      <p:pic>
        <p:nvPicPr>
          <p:cNvPr id="660" name="Google Shape;660;p91">
            <a:hlinkClick r:id="rId5"/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611820" y="1917502"/>
            <a:ext cx="1257300" cy="1257284"/>
          </a:xfrm>
          <a:prstGeom prst="rect">
            <a:avLst/>
          </a:prstGeom>
          <a:noFill/>
          <a:ln>
            <a:noFill/>
          </a:ln>
        </p:spPr>
      </p:pic>
      <p:pic>
        <p:nvPicPr>
          <p:cNvPr id="661" name="Google Shape;661;p91">
            <a:hlinkClick r:id="rId7"/>
          </p:cNvPr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3208271" y="1969438"/>
            <a:ext cx="1071738" cy="1071738"/>
          </a:xfrm>
          <a:prstGeom prst="rect">
            <a:avLst/>
          </a:prstGeom>
          <a:noFill/>
          <a:ln>
            <a:noFill/>
          </a:ln>
        </p:spPr>
      </p:pic>
      <p:pic>
        <p:nvPicPr>
          <p:cNvPr id="662" name="Google Shape;662;p91">
            <a:hlinkClick r:id="rId9"/>
          </p:cNvPr>
          <p:cNvPicPr preferRelativeResize="0"/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5700564" y="1930363"/>
            <a:ext cx="1191795" cy="119179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0" name="Google Shape;740;p98"/>
          <p:cNvSpPr/>
          <p:nvPr/>
        </p:nvSpPr>
        <p:spPr>
          <a:xfrm>
            <a:off x="333988" y="2541148"/>
            <a:ext cx="9372660" cy="18687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00568" tIns="100568" rIns="100568" bIns="100568" anchor="ctr" anchorCtr="0">
            <a:noAutofit/>
          </a:bodyPr>
          <a:lstStyle/>
          <a:p>
            <a:pPr defTabSz="1005840">
              <a:defRPr/>
            </a:pPr>
            <a:endParaRPr sz="1980" kern="0">
              <a:solidFill>
                <a:sysClr val="windowText" lastClr="000000"/>
              </a:solidFill>
            </a:endParaRPr>
          </a:p>
        </p:txBody>
      </p:sp>
      <p:pic>
        <p:nvPicPr>
          <p:cNvPr id="741" name="Google Shape;741;p98"/>
          <p:cNvPicPr preferRelativeResize="0"/>
          <p:nvPr/>
        </p:nvPicPr>
        <p:blipFill rotWithShape="1">
          <a:blip r:embed="rId3">
            <a:alphaModFix amt="20000"/>
          </a:blip>
          <a:srcRect t="33195" b="36898"/>
          <a:stretch/>
        </p:blipFill>
        <p:spPr>
          <a:xfrm>
            <a:off x="333988" y="2548876"/>
            <a:ext cx="9372660" cy="1868653"/>
          </a:xfrm>
          <a:prstGeom prst="rect">
            <a:avLst/>
          </a:prstGeom>
          <a:noFill/>
          <a:ln>
            <a:noFill/>
          </a:ln>
        </p:spPr>
      </p:pic>
      <p:sp>
        <p:nvSpPr>
          <p:cNvPr id="742" name="Google Shape;742;p98"/>
          <p:cNvSpPr txBox="1">
            <a:spLocks noGrp="1"/>
          </p:cNvSpPr>
          <p:nvPr>
            <p:ph type="title"/>
          </p:nvPr>
        </p:nvSpPr>
        <p:spPr>
          <a:xfrm>
            <a:off x="342870" y="1546802"/>
            <a:ext cx="9372660" cy="629970"/>
          </a:xfrm>
          <a:prstGeom prst="rect">
            <a:avLst/>
          </a:prstGeom>
        </p:spPr>
        <p:txBody>
          <a:bodyPr spcFirstLastPara="1" wrap="square" lIns="100568" tIns="100568" rIns="100568" bIns="100568" anchor="t" anchorCtr="0">
            <a:noAutofit/>
          </a:bodyPr>
          <a:lstStyle/>
          <a:p>
            <a:pPr algn="l"/>
            <a:r>
              <a:rPr lang="en"/>
              <a:t>Madison College </a:t>
            </a:r>
            <a:endParaRPr/>
          </a:p>
          <a:p>
            <a:pPr algn="l"/>
            <a:endParaRPr/>
          </a:p>
        </p:txBody>
      </p:sp>
      <p:sp>
        <p:nvSpPr>
          <p:cNvPr id="743" name="Google Shape;743;p98"/>
          <p:cNvSpPr txBox="1">
            <a:spLocks noGrp="1"/>
          </p:cNvSpPr>
          <p:nvPr>
            <p:ph type="body" idx="4"/>
          </p:nvPr>
        </p:nvSpPr>
        <p:spPr>
          <a:xfrm>
            <a:off x="7471200" y="4289048"/>
            <a:ext cx="2136750" cy="2039070"/>
          </a:xfrm>
          <a:prstGeom prst="rect">
            <a:avLst/>
          </a:prstGeom>
        </p:spPr>
        <p:txBody>
          <a:bodyPr spcFirstLastPara="1" wrap="square" lIns="100568" tIns="100568" rIns="100568" bIns="100568" anchor="t" anchorCtr="0">
            <a:noAutofit/>
          </a:bodyPr>
          <a:lstStyle/>
          <a:p>
            <a:pPr marL="0" indent="0" algn="ctr">
              <a:buNone/>
            </a:pPr>
            <a:endParaRPr sz="1430"/>
          </a:p>
          <a:p>
            <a:pPr marL="0" indent="0" algn="ctr">
              <a:spcBef>
                <a:spcPts val="1100"/>
              </a:spcBef>
              <a:spcAft>
                <a:spcPts val="1100"/>
              </a:spcAft>
              <a:buNone/>
            </a:pPr>
            <a:r>
              <a:rPr lang="en" sz="1430"/>
              <a:t>25% growth in digital badges issued every semester</a:t>
            </a:r>
            <a:endParaRPr sz="1430"/>
          </a:p>
        </p:txBody>
      </p:sp>
      <p:sp>
        <p:nvSpPr>
          <p:cNvPr id="744" name="Google Shape;744;p98"/>
          <p:cNvSpPr txBox="1">
            <a:spLocks noGrp="1"/>
          </p:cNvSpPr>
          <p:nvPr>
            <p:ph type="subTitle" idx="1"/>
          </p:nvPr>
        </p:nvSpPr>
        <p:spPr>
          <a:xfrm>
            <a:off x="342870" y="2070293"/>
            <a:ext cx="9265080" cy="383790"/>
          </a:xfrm>
          <a:prstGeom prst="rect">
            <a:avLst/>
          </a:prstGeom>
        </p:spPr>
        <p:txBody>
          <a:bodyPr spcFirstLastPara="1" wrap="square" lIns="100568" tIns="100568" rIns="100568" bIns="100568" anchor="t" anchorCtr="0">
            <a:noAutofit/>
          </a:bodyPr>
          <a:lstStyle/>
          <a:p>
            <a:pPr>
              <a:spcAft>
                <a:spcPts val="1100"/>
              </a:spcAft>
            </a:pPr>
            <a:r>
              <a:rPr lang="en"/>
              <a:t>The Power of Digital Credentials </a:t>
            </a:r>
            <a:endParaRPr/>
          </a:p>
        </p:txBody>
      </p:sp>
      <p:sp>
        <p:nvSpPr>
          <p:cNvPr id="746" name="Google Shape;746;p98"/>
          <p:cNvSpPr txBox="1">
            <a:spLocks noGrp="1"/>
          </p:cNvSpPr>
          <p:nvPr>
            <p:ph type="body" idx="4"/>
          </p:nvPr>
        </p:nvSpPr>
        <p:spPr>
          <a:xfrm>
            <a:off x="3970903" y="4289048"/>
            <a:ext cx="2116620" cy="2039070"/>
          </a:xfrm>
          <a:prstGeom prst="rect">
            <a:avLst/>
          </a:prstGeom>
        </p:spPr>
        <p:txBody>
          <a:bodyPr spcFirstLastPara="1" wrap="square" lIns="100568" tIns="100568" rIns="100568" bIns="100568" anchor="t" anchorCtr="0">
            <a:noAutofit/>
          </a:bodyPr>
          <a:lstStyle/>
          <a:p>
            <a:pPr marL="0" indent="0" algn="ctr">
              <a:buNone/>
            </a:pPr>
            <a:endParaRPr sz="1430"/>
          </a:p>
          <a:p>
            <a:pPr marL="0" indent="0" algn="ctr">
              <a:spcBef>
                <a:spcPts val="1100"/>
              </a:spcBef>
              <a:spcAft>
                <a:spcPts val="1100"/>
              </a:spcAft>
              <a:buNone/>
            </a:pPr>
            <a:r>
              <a:rPr lang="en" sz="1430"/>
              <a:t>77% of badge holders believe that badges improve job opportunities </a:t>
            </a:r>
            <a:endParaRPr sz="1430"/>
          </a:p>
        </p:txBody>
      </p:sp>
      <p:sp>
        <p:nvSpPr>
          <p:cNvPr id="747" name="Google Shape;747;p98"/>
          <p:cNvSpPr txBox="1">
            <a:spLocks noGrp="1"/>
          </p:cNvSpPr>
          <p:nvPr>
            <p:ph type="body" idx="4"/>
          </p:nvPr>
        </p:nvSpPr>
        <p:spPr>
          <a:xfrm>
            <a:off x="342870" y="4289048"/>
            <a:ext cx="2136750" cy="2039070"/>
          </a:xfrm>
          <a:prstGeom prst="rect">
            <a:avLst/>
          </a:prstGeom>
        </p:spPr>
        <p:txBody>
          <a:bodyPr spcFirstLastPara="1" wrap="square" lIns="100568" tIns="100568" rIns="100568" bIns="100568" anchor="t" anchorCtr="0">
            <a:noAutofit/>
          </a:bodyPr>
          <a:lstStyle/>
          <a:p>
            <a:pPr marL="0" indent="0" algn="ctr">
              <a:buNone/>
            </a:pPr>
            <a:endParaRPr sz="1430"/>
          </a:p>
          <a:p>
            <a:pPr marL="0" indent="0" algn="ctr">
              <a:spcBef>
                <a:spcPts val="1100"/>
              </a:spcBef>
              <a:spcAft>
                <a:spcPts val="1100"/>
              </a:spcAft>
              <a:buNone/>
            </a:pPr>
            <a:r>
              <a:rPr lang="en" sz="1430"/>
              <a:t>130+ types of digital badges</a:t>
            </a:r>
            <a:endParaRPr sz="1430"/>
          </a:p>
        </p:txBody>
      </p:sp>
      <p:pic>
        <p:nvPicPr>
          <p:cNvPr id="748" name="Google Shape;748;p9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888085" y="3798090"/>
            <a:ext cx="844906" cy="844906"/>
          </a:xfrm>
          <a:prstGeom prst="rect">
            <a:avLst/>
          </a:prstGeom>
          <a:noFill/>
          <a:ln>
            <a:noFill/>
          </a:ln>
        </p:spPr>
      </p:pic>
      <p:pic>
        <p:nvPicPr>
          <p:cNvPr id="749" name="Google Shape;749;p98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4552955" y="3798090"/>
            <a:ext cx="844906" cy="844906"/>
          </a:xfrm>
          <a:prstGeom prst="rect">
            <a:avLst/>
          </a:prstGeom>
          <a:noFill/>
          <a:ln>
            <a:noFill/>
          </a:ln>
        </p:spPr>
      </p:pic>
      <p:pic>
        <p:nvPicPr>
          <p:cNvPr id="750" name="Google Shape;750;p98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8016525" y="3798090"/>
            <a:ext cx="844906" cy="84490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613860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83A8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11</TotalTime>
  <Words>1668</Words>
  <Application>Microsoft Office PowerPoint</Application>
  <PresentationFormat>Custom</PresentationFormat>
  <Paragraphs>259</Paragraphs>
  <Slides>29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42" baseType="lpstr">
      <vt:lpstr> open sans light</vt:lpstr>
      <vt:lpstr>Arial</vt:lpstr>
      <vt:lpstr>Calibri</vt:lpstr>
      <vt:lpstr>Lato</vt:lpstr>
      <vt:lpstr>Noto Sans Symbols</vt:lpstr>
      <vt:lpstr>Open Sans Light</vt:lpstr>
      <vt:lpstr>Proxima Nova</vt:lpstr>
      <vt:lpstr>Quire Sans Pro Light</vt:lpstr>
      <vt:lpstr>Roboto</vt:lpstr>
      <vt:lpstr>Source Serif Pro</vt:lpstr>
      <vt:lpstr>Verdana</vt:lpstr>
      <vt:lpstr>Office Theme</vt:lpstr>
      <vt:lpstr>think-cell Slide</vt:lpstr>
      <vt:lpstr>How to help your students leverage the Career Currency of their Credly GED credential</vt:lpstr>
      <vt:lpstr>PowerPoint Presentation</vt:lpstr>
      <vt:lpstr> 5 global workforce shifts driving demand for badges</vt:lpstr>
      <vt:lpstr> 5 global workforce shifts driving demand for badges</vt:lpstr>
      <vt:lpstr> 5 global workforce shifts driving demand for badges</vt:lpstr>
      <vt:lpstr> 5 global workforce shifts driving demand for badges</vt:lpstr>
      <vt:lpstr> 5 global workforce shifts driving demand for badges</vt:lpstr>
      <vt:lpstr>Spectrum of Digital Credential Recognition</vt:lpstr>
      <vt:lpstr>Madison College  </vt:lpstr>
      <vt:lpstr>Colorado Community College System  </vt:lpstr>
      <vt:lpstr>Case Study: From employee engagement to enterprise-wide skills platform</vt:lpstr>
      <vt:lpstr>Employer Views on Alternative Credentials</vt:lpstr>
      <vt:lpstr>Credly believes in a network full of opportunity serving both earners and issuers  </vt:lpstr>
      <vt:lpstr>PowerPoint Presentation</vt:lpstr>
      <vt:lpstr>GED Digital Credentials</vt:lpstr>
      <vt:lpstr>A Currency for Human Capital</vt:lpstr>
      <vt:lpstr>Credly Connects Earners to Opportunities </vt:lpstr>
      <vt:lpstr>The GED® candidate experience:  Badges earned by Passers are notified on GED.com</vt:lpstr>
      <vt:lpstr>PowerPoint Presentation</vt:lpstr>
      <vt:lpstr>Credly Account</vt:lpstr>
      <vt:lpstr>Students connect directly to opportunities:</vt:lpstr>
      <vt:lpstr>Education</vt:lpstr>
      <vt:lpstr>Students connect directly to opportunities:</vt:lpstr>
      <vt:lpstr>Credly Acclaim digital credential platform benefits</vt:lpstr>
      <vt:lpstr>PowerPoint Presentation</vt:lpstr>
      <vt:lpstr>'Learn More' page on GED.com</vt:lpstr>
      <vt:lpstr>PowerPoint Presentation</vt:lpstr>
      <vt:lpstr>GED® Testing Service badge stat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PowerPoint - Cult. Respons.Teaching.NY</dc:title>
  <dc:creator>UBEARAD</dc:creator>
  <cp:lastModifiedBy>Patricia Leonard</cp:lastModifiedBy>
  <cp:revision>9</cp:revision>
  <dcterms:created xsi:type="dcterms:W3CDTF">2023-07-19T05:08:47Z</dcterms:created>
  <dcterms:modified xsi:type="dcterms:W3CDTF">2023-07-19T20:19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3-07-13T00:00:00Z</vt:filetime>
  </property>
  <property fmtid="{D5CDD505-2E9C-101B-9397-08002B2CF9AE}" pid="3" name="LastSaved">
    <vt:filetime>2023-07-19T00:00:00Z</vt:filetime>
  </property>
</Properties>
</file>